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1"/>
  </p:sldMasterIdLst>
  <p:notesMasterIdLst>
    <p:notesMasterId r:id="rId13"/>
  </p:notesMasterIdLst>
  <p:sldIdLst>
    <p:sldId id="256" r:id="rId2"/>
    <p:sldId id="257" r:id="rId3"/>
    <p:sldId id="258" r:id="rId4"/>
    <p:sldId id="259" r:id="rId5"/>
    <p:sldId id="260" r:id="rId6"/>
    <p:sldId id="261" r:id="rId7"/>
    <p:sldId id="263" r:id="rId8"/>
    <p:sldId id="262" r:id="rId9"/>
    <p:sldId id="265" r:id="rId10"/>
    <p:sldId id="266" r:id="rId11"/>
    <p:sldId id="267" r:id="rId12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1776" autoAdjust="0"/>
  </p:normalViewPr>
  <p:slideViewPr>
    <p:cSldViewPr>
      <p:cViewPr>
        <p:scale>
          <a:sx n="100" d="100"/>
          <a:sy n="100" d="100"/>
        </p:scale>
        <p:origin x="-1932" y="1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78DBB57-7D50-C649-A5CA-4D486C2E4793}" type="doc">
      <dgm:prSet loTypeId="urn:microsoft.com/office/officeart/2005/8/layout/cycle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33752B9-86B3-794B-9A56-3943A6EE7FB7}">
      <dgm:prSet phldrT="[Text]"/>
      <dgm:spPr/>
      <dgm:t>
        <a:bodyPr/>
        <a:lstStyle/>
        <a:p>
          <a:r>
            <a:rPr lang="en-US" dirty="0" smtClean="0"/>
            <a:t>Do</a:t>
          </a:r>
          <a:endParaRPr lang="en-US" dirty="0"/>
        </a:p>
      </dgm:t>
    </dgm:pt>
    <dgm:pt modelId="{CA6E055B-BB9C-5740-9C7F-A144A49C97D3}" type="parTrans" cxnId="{539673F1-2114-8D4B-BD2C-4C8109EEED0E}">
      <dgm:prSet/>
      <dgm:spPr/>
      <dgm:t>
        <a:bodyPr/>
        <a:lstStyle/>
        <a:p>
          <a:endParaRPr lang="en-US"/>
        </a:p>
      </dgm:t>
    </dgm:pt>
    <dgm:pt modelId="{6F9A5B67-52E9-8E4B-B690-0418DB018A9E}" type="sibTrans" cxnId="{539673F1-2114-8D4B-BD2C-4C8109EEED0E}">
      <dgm:prSet/>
      <dgm:spPr>
        <a:solidFill>
          <a:schemeClr val="bg2">
            <a:lumMod val="50000"/>
          </a:schemeClr>
        </a:solidFill>
        <a:effectLst/>
      </dgm:spPr>
      <dgm:t>
        <a:bodyPr/>
        <a:lstStyle/>
        <a:p>
          <a:endParaRPr lang="en-US"/>
        </a:p>
      </dgm:t>
    </dgm:pt>
    <dgm:pt modelId="{15062EFC-2288-C649-8B63-E62A3C42602B}">
      <dgm:prSet phldrT="[Text]"/>
      <dgm:spPr/>
      <dgm:t>
        <a:bodyPr/>
        <a:lstStyle/>
        <a:p>
          <a:r>
            <a:rPr lang="en-US" dirty="0" smtClean="0"/>
            <a:t>Check</a:t>
          </a:r>
          <a:endParaRPr lang="en-US" dirty="0"/>
        </a:p>
      </dgm:t>
    </dgm:pt>
    <dgm:pt modelId="{51C9EDFD-70A4-F945-833C-87114EB4DB61}" type="parTrans" cxnId="{1D84DBF8-2269-6D45-A80F-9F520803A8FE}">
      <dgm:prSet/>
      <dgm:spPr/>
      <dgm:t>
        <a:bodyPr/>
        <a:lstStyle/>
        <a:p>
          <a:endParaRPr lang="en-US"/>
        </a:p>
      </dgm:t>
    </dgm:pt>
    <dgm:pt modelId="{5C6A8549-70E4-624E-8B8E-3204F178034B}" type="sibTrans" cxnId="{1D84DBF8-2269-6D45-A80F-9F520803A8FE}">
      <dgm:prSet/>
      <dgm:spPr>
        <a:solidFill>
          <a:schemeClr val="bg2">
            <a:lumMod val="50000"/>
          </a:schemeClr>
        </a:solidFill>
        <a:effectLst/>
      </dgm:spPr>
      <dgm:t>
        <a:bodyPr/>
        <a:lstStyle/>
        <a:p>
          <a:endParaRPr lang="en-US"/>
        </a:p>
      </dgm:t>
    </dgm:pt>
    <dgm:pt modelId="{F61EAF86-23AE-8444-8A0B-952A7BE59FAD}">
      <dgm:prSet phldrT="[Text]"/>
      <dgm:spPr/>
      <dgm:t>
        <a:bodyPr/>
        <a:lstStyle/>
        <a:p>
          <a:r>
            <a:rPr lang="en-US" dirty="0" smtClean="0"/>
            <a:t>Adjust</a:t>
          </a:r>
          <a:endParaRPr lang="en-US" dirty="0"/>
        </a:p>
      </dgm:t>
    </dgm:pt>
    <dgm:pt modelId="{9B5845A9-AA72-474F-ACE5-A738BDB665D1}" type="parTrans" cxnId="{FA088DE6-3C74-4B42-9474-83855340AFA0}">
      <dgm:prSet/>
      <dgm:spPr/>
      <dgm:t>
        <a:bodyPr/>
        <a:lstStyle/>
        <a:p>
          <a:endParaRPr lang="en-US"/>
        </a:p>
      </dgm:t>
    </dgm:pt>
    <dgm:pt modelId="{3411607D-9DB3-BB4A-BE77-A76686F74D6D}" type="sibTrans" cxnId="{FA088DE6-3C74-4B42-9474-83855340AFA0}">
      <dgm:prSet/>
      <dgm:spPr>
        <a:solidFill>
          <a:schemeClr val="bg2">
            <a:lumMod val="50000"/>
          </a:schemeClr>
        </a:solidFill>
        <a:effectLst/>
      </dgm:spPr>
      <dgm:t>
        <a:bodyPr/>
        <a:lstStyle/>
        <a:p>
          <a:endParaRPr lang="en-US"/>
        </a:p>
      </dgm:t>
    </dgm:pt>
    <dgm:pt modelId="{D1D242AD-C6AB-5846-984A-CE26035B1F64}">
      <dgm:prSet phldrT="[Text]"/>
      <dgm:spPr/>
      <dgm:t>
        <a:bodyPr/>
        <a:lstStyle/>
        <a:p>
          <a:r>
            <a:rPr lang="en-US" dirty="0" smtClean="0"/>
            <a:t>Plan</a:t>
          </a:r>
          <a:endParaRPr lang="en-US" dirty="0"/>
        </a:p>
      </dgm:t>
    </dgm:pt>
    <dgm:pt modelId="{FC1DB619-B75F-B048-8743-38491D63B064}" type="parTrans" cxnId="{551E0DB4-4116-E140-B52B-CDCE4D76AA80}">
      <dgm:prSet/>
      <dgm:spPr/>
      <dgm:t>
        <a:bodyPr/>
        <a:lstStyle/>
        <a:p>
          <a:endParaRPr lang="en-US"/>
        </a:p>
      </dgm:t>
    </dgm:pt>
    <dgm:pt modelId="{1D16AFA1-EAF7-7740-8454-79DE10F38084}" type="sibTrans" cxnId="{551E0DB4-4116-E140-B52B-CDCE4D76AA80}">
      <dgm:prSet/>
      <dgm:spPr>
        <a:solidFill>
          <a:schemeClr val="bg2">
            <a:lumMod val="50000"/>
          </a:schemeClr>
        </a:solidFill>
        <a:effectLst/>
      </dgm:spPr>
      <dgm:t>
        <a:bodyPr/>
        <a:lstStyle/>
        <a:p>
          <a:endParaRPr lang="en-US"/>
        </a:p>
      </dgm:t>
    </dgm:pt>
    <dgm:pt modelId="{C0625F23-FACC-1E49-AF15-2496E2BB81B5}" type="pres">
      <dgm:prSet presAssocID="{778DBB57-7D50-C649-A5CA-4D486C2E4793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4C60E3F-A1BD-E94C-B608-17B48A435AF0}" type="pres">
      <dgm:prSet presAssocID="{333752B9-86B3-794B-9A56-3943A6EE7FB7}" presName="dummy" presStyleCnt="0"/>
      <dgm:spPr/>
    </dgm:pt>
    <dgm:pt modelId="{8BC0829A-274A-8744-98CB-44790541ADB3}" type="pres">
      <dgm:prSet presAssocID="{333752B9-86B3-794B-9A56-3943A6EE7FB7}" presName="node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464E82-40D2-F541-ACEE-BAD62C61D323}" type="pres">
      <dgm:prSet presAssocID="{6F9A5B67-52E9-8E4B-B690-0418DB018A9E}" presName="sibTrans" presStyleLbl="node1" presStyleIdx="0" presStyleCnt="4"/>
      <dgm:spPr/>
      <dgm:t>
        <a:bodyPr/>
        <a:lstStyle/>
        <a:p>
          <a:endParaRPr lang="en-US"/>
        </a:p>
      </dgm:t>
    </dgm:pt>
    <dgm:pt modelId="{1C069E80-CA35-8E4B-A323-5C5F1B26DA96}" type="pres">
      <dgm:prSet presAssocID="{15062EFC-2288-C649-8B63-E62A3C42602B}" presName="dummy" presStyleCnt="0"/>
      <dgm:spPr/>
    </dgm:pt>
    <dgm:pt modelId="{42D0F23A-99C2-874B-8F3C-B9891A026658}" type="pres">
      <dgm:prSet presAssocID="{15062EFC-2288-C649-8B63-E62A3C42602B}" presName="node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C69493-9881-2F43-90D5-717D96F6294D}" type="pres">
      <dgm:prSet presAssocID="{5C6A8549-70E4-624E-8B8E-3204F178034B}" presName="sibTrans" presStyleLbl="node1" presStyleIdx="1" presStyleCnt="4"/>
      <dgm:spPr/>
      <dgm:t>
        <a:bodyPr/>
        <a:lstStyle/>
        <a:p>
          <a:endParaRPr lang="en-US"/>
        </a:p>
      </dgm:t>
    </dgm:pt>
    <dgm:pt modelId="{3FD36272-AFFF-6242-A6B5-531A33A9D9C6}" type="pres">
      <dgm:prSet presAssocID="{F61EAF86-23AE-8444-8A0B-952A7BE59FAD}" presName="dummy" presStyleCnt="0"/>
      <dgm:spPr/>
    </dgm:pt>
    <dgm:pt modelId="{70167A6C-CDD2-C844-8F3E-06B3C30FF12F}" type="pres">
      <dgm:prSet presAssocID="{F61EAF86-23AE-8444-8A0B-952A7BE59FAD}" presName="node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67064E2-B0F4-EF43-89FE-832CBD9B8DD1}" type="pres">
      <dgm:prSet presAssocID="{3411607D-9DB3-BB4A-BE77-A76686F74D6D}" presName="sibTrans" presStyleLbl="node1" presStyleIdx="2" presStyleCnt="4"/>
      <dgm:spPr/>
      <dgm:t>
        <a:bodyPr/>
        <a:lstStyle/>
        <a:p>
          <a:endParaRPr lang="en-US"/>
        </a:p>
      </dgm:t>
    </dgm:pt>
    <dgm:pt modelId="{CE9AAD1A-EC6F-1E4E-AE15-6A255EF573A7}" type="pres">
      <dgm:prSet presAssocID="{D1D242AD-C6AB-5846-984A-CE26035B1F64}" presName="dummy" presStyleCnt="0"/>
      <dgm:spPr/>
    </dgm:pt>
    <dgm:pt modelId="{6C24B5F2-59F5-3B4A-B7C4-22DF14124EEA}" type="pres">
      <dgm:prSet presAssocID="{D1D242AD-C6AB-5846-984A-CE26035B1F64}" presName="node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C84352-3DB4-B243-9775-F7BAF98E0DA8}" type="pres">
      <dgm:prSet presAssocID="{1D16AFA1-EAF7-7740-8454-79DE10F38084}" presName="sibTrans" presStyleLbl="node1" presStyleIdx="3" presStyleCnt="4"/>
      <dgm:spPr/>
      <dgm:t>
        <a:bodyPr/>
        <a:lstStyle/>
        <a:p>
          <a:endParaRPr lang="en-US"/>
        </a:p>
      </dgm:t>
    </dgm:pt>
  </dgm:ptLst>
  <dgm:cxnLst>
    <dgm:cxn modelId="{FA088DE6-3C74-4B42-9474-83855340AFA0}" srcId="{778DBB57-7D50-C649-A5CA-4D486C2E4793}" destId="{F61EAF86-23AE-8444-8A0B-952A7BE59FAD}" srcOrd="2" destOrd="0" parTransId="{9B5845A9-AA72-474F-ACE5-A738BDB665D1}" sibTransId="{3411607D-9DB3-BB4A-BE77-A76686F74D6D}"/>
    <dgm:cxn modelId="{F42222B1-5714-4533-B580-F16F4375E74B}" type="presOf" srcId="{3411607D-9DB3-BB4A-BE77-A76686F74D6D}" destId="{267064E2-B0F4-EF43-89FE-832CBD9B8DD1}" srcOrd="0" destOrd="0" presId="urn:microsoft.com/office/officeart/2005/8/layout/cycle1"/>
    <dgm:cxn modelId="{00C9798C-7276-4D4F-919E-D758BC0B35B4}" type="presOf" srcId="{333752B9-86B3-794B-9A56-3943A6EE7FB7}" destId="{8BC0829A-274A-8744-98CB-44790541ADB3}" srcOrd="0" destOrd="0" presId="urn:microsoft.com/office/officeart/2005/8/layout/cycle1"/>
    <dgm:cxn modelId="{D74BA787-DB59-4207-BC0E-8A1A3E34B05C}" type="presOf" srcId="{D1D242AD-C6AB-5846-984A-CE26035B1F64}" destId="{6C24B5F2-59F5-3B4A-B7C4-22DF14124EEA}" srcOrd="0" destOrd="0" presId="urn:microsoft.com/office/officeart/2005/8/layout/cycle1"/>
    <dgm:cxn modelId="{1D84DBF8-2269-6D45-A80F-9F520803A8FE}" srcId="{778DBB57-7D50-C649-A5CA-4D486C2E4793}" destId="{15062EFC-2288-C649-8B63-E62A3C42602B}" srcOrd="1" destOrd="0" parTransId="{51C9EDFD-70A4-F945-833C-87114EB4DB61}" sibTransId="{5C6A8549-70E4-624E-8B8E-3204F178034B}"/>
    <dgm:cxn modelId="{A47CFC35-663E-4CB3-BA1B-75048F105F67}" type="presOf" srcId="{F61EAF86-23AE-8444-8A0B-952A7BE59FAD}" destId="{70167A6C-CDD2-C844-8F3E-06B3C30FF12F}" srcOrd="0" destOrd="0" presId="urn:microsoft.com/office/officeart/2005/8/layout/cycle1"/>
    <dgm:cxn modelId="{551E0DB4-4116-E140-B52B-CDCE4D76AA80}" srcId="{778DBB57-7D50-C649-A5CA-4D486C2E4793}" destId="{D1D242AD-C6AB-5846-984A-CE26035B1F64}" srcOrd="3" destOrd="0" parTransId="{FC1DB619-B75F-B048-8743-38491D63B064}" sibTransId="{1D16AFA1-EAF7-7740-8454-79DE10F38084}"/>
    <dgm:cxn modelId="{BDDCC3BE-3FEC-4D3B-9189-34D584D1303A}" type="presOf" srcId="{1D16AFA1-EAF7-7740-8454-79DE10F38084}" destId="{30C84352-3DB4-B243-9775-F7BAF98E0DA8}" srcOrd="0" destOrd="0" presId="urn:microsoft.com/office/officeart/2005/8/layout/cycle1"/>
    <dgm:cxn modelId="{F0362BE7-5CF2-468B-AF29-CB9FDA540728}" type="presOf" srcId="{778DBB57-7D50-C649-A5CA-4D486C2E4793}" destId="{C0625F23-FACC-1E49-AF15-2496E2BB81B5}" srcOrd="0" destOrd="0" presId="urn:microsoft.com/office/officeart/2005/8/layout/cycle1"/>
    <dgm:cxn modelId="{539673F1-2114-8D4B-BD2C-4C8109EEED0E}" srcId="{778DBB57-7D50-C649-A5CA-4D486C2E4793}" destId="{333752B9-86B3-794B-9A56-3943A6EE7FB7}" srcOrd="0" destOrd="0" parTransId="{CA6E055B-BB9C-5740-9C7F-A144A49C97D3}" sibTransId="{6F9A5B67-52E9-8E4B-B690-0418DB018A9E}"/>
    <dgm:cxn modelId="{2CDA9F85-E75D-4EF4-8C8A-D0260A5CC521}" type="presOf" srcId="{6F9A5B67-52E9-8E4B-B690-0418DB018A9E}" destId="{B7464E82-40D2-F541-ACEE-BAD62C61D323}" srcOrd="0" destOrd="0" presId="urn:microsoft.com/office/officeart/2005/8/layout/cycle1"/>
    <dgm:cxn modelId="{F15ACBFB-078F-4540-82AB-A81774327419}" type="presOf" srcId="{5C6A8549-70E4-624E-8B8E-3204F178034B}" destId="{B1C69493-9881-2F43-90D5-717D96F6294D}" srcOrd="0" destOrd="0" presId="urn:microsoft.com/office/officeart/2005/8/layout/cycle1"/>
    <dgm:cxn modelId="{7BC4FCE6-1462-4B0A-BE48-EBC211310E05}" type="presOf" srcId="{15062EFC-2288-C649-8B63-E62A3C42602B}" destId="{42D0F23A-99C2-874B-8F3C-B9891A026658}" srcOrd="0" destOrd="0" presId="urn:microsoft.com/office/officeart/2005/8/layout/cycle1"/>
    <dgm:cxn modelId="{110D0194-C756-4916-964D-429847C2D66B}" type="presParOf" srcId="{C0625F23-FACC-1E49-AF15-2496E2BB81B5}" destId="{74C60E3F-A1BD-E94C-B608-17B48A435AF0}" srcOrd="0" destOrd="0" presId="urn:microsoft.com/office/officeart/2005/8/layout/cycle1"/>
    <dgm:cxn modelId="{CABFEE7E-0D57-418F-990A-6F745E313951}" type="presParOf" srcId="{C0625F23-FACC-1E49-AF15-2496E2BB81B5}" destId="{8BC0829A-274A-8744-98CB-44790541ADB3}" srcOrd="1" destOrd="0" presId="urn:microsoft.com/office/officeart/2005/8/layout/cycle1"/>
    <dgm:cxn modelId="{E6FE85D2-2182-495B-A9F3-E107DCE224E2}" type="presParOf" srcId="{C0625F23-FACC-1E49-AF15-2496E2BB81B5}" destId="{B7464E82-40D2-F541-ACEE-BAD62C61D323}" srcOrd="2" destOrd="0" presId="urn:microsoft.com/office/officeart/2005/8/layout/cycle1"/>
    <dgm:cxn modelId="{162DD609-9BBF-4047-917D-1E404A6F66FD}" type="presParOf" srcId="{C0625F23-FACC-1E49-AF15-2496E2BB81B5}" destId="{1C069E80-CA35-8E4B-A323-5C5F1B26DA96}" srcOrd="3" destOrd="0" presId="urn:microsoft.com/office/officeart/2005/8/layout/cycle1"/>
    <dgm:cxn modelId="{101CDC5F-D683-45B2-BF37-A56882255087}" type="presParOf" srcId="{C0625F23-FACC-1E49-AF15-2496E2BB81B5}" destId="{42D0F23A-99C2-874B-8F3C-B9891A026658}" srcOrd="4" destOrd="0" presId="urn:microsoft.com/office/officeart/2005/8/layout/cycle1"/>
    <dgm:cxn modelId="{0FCC9B7E-4B53-409D-9250-535698662162}" type="presParOf" srcId="{C0625F23-FACC-1E49-AF15-2496E2BB81B5}" destId="{B1C69493-9881-2F43-90D5-717D96F6294D}" srcOrd="5" destOrd="0" presId="urn:microsoft.com/office/officeart/2005/8/layout/cycle1"/>
    <dgm:cxn modelId="{9E9EC07D-F43B-4445-A0BE-D93FE463ED17}" type="presParOf" srcId="{C0625F23-FACC-1E49-AF15-2496E2BB81B5}" destId="{3FD36272-AFFF-6242-A6B5-531A33A9D9C6}" srcOrd="6" destOrd="0" presId="urn:microsoft.com/office/officeart/2005/8/layout/cycle1"/>
    <dgm:cxn modelId="{C4BB4A90-B9C3-47A9-A02B-FA09776118D0}" type="presParOf" srcId="{C0625F23-FACC-1E49-AF15-2496E2BB81B5}" destId="{70167A6C-CDD2-C844-8F3E-06B3C30FF12F}" srcOrd="7" destOrd="0" presId="urn:microsoft.com/office/officeart/2005/8/layout/cycle1"/>
    <dgm:cxn modelId="{2CEF469B-CDC4-4395-991F-D504D690114C}" type="presParOf" srcId="{C0625F23-FACC-1E49-AF15-2496E2BB81B5}" destId="{267064E2-B0F4-EF43-89FE-832CBD9B8DD1}" srcOrd="8" destOrd="0" presId="urn:microsoft.com/office/officeart/2005/8/layout/cycle1"/>
    <dgm:cxn modelId="{123BEF18-1878-426D-83FE-8528A4A04EBC}" type="presParOf" srcId="{C0625F23-FACC-1E49-AF15-2496E2BB81B5}" destId="{CE9AAD1A-EC6F-1E4E-AE15-6A255EF573A7}" srcOrd="9" destOrd="0" presId="urn:microsoft.com/office/officeart/2005/8/layout/cycle1"/>
    <dgm:cxn modelId="{AC7ABE70-D9E1-4EBB-93D6-B907136ED810}" type="presParOf" srcId="{C0625F23-FACC-1E49-AF15-2496E2BB81B5}" destId="{6C24B5F2-59F5-3B4A-B7C4-22DF14124EEA}" srcOrd="10" destOrd="0" presId="urn:microsoft.com/office/officeart/2005/8/layout/cycle1"/>
    <dgm:cxn modelId="{FD744850-5B68-4C2C-815B-CB415E682790}" type="presParOf" srcId="{C0625F23-FACC-1E49-AF15-2496E2BB81B5}" destId="{30C84352-3DB4-B243-9775-F7BAF98E0DA8}" srcOrd="11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C0829A-274A-8744-98CB-44790541ADB3}">
      <dsp:nvSpPr>
        <dsp:cNvPr id="0" name=""/>
        <dsp:cNvSpPr/>
      </dsp:nvSpPr>
      <dsp:spPr>
        <a:xfrm>
          <a:off x="1248511" y="35826"/>
          <a:ext cx="575030" cy="5750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Do</a:t>
          </a:r>
          <a:endParaRPr lang="en-US" sz="1300" kern="1200" dirty="0"/>
        </a:p>
      </dsp:txBody>
      <dsp:txXfrm>
        <a:off x="1248511" y="35826"/>
        <a:ext cx="575030" cy="575030"/>
      </dsp:txXfrm>
    </dsp:sp>
    <dsp:sp modelId="{B7464E82-40D2-F541-ACEE-BAD62C61D323}">
      <dsp:nvSpPr>
        <dsp:cNvPr id="0" name=""/>
        <dsp:cNvSpPr/>
      </dsp:nvSpPr>
      <dsp:spPr>
        <a:xfrm>
          <a:off x="235730" y="-386"/>
          <a:ext cx="1624025" cy="1624025"/>
        </a:xfrm>
        <a:prstGeom prst="circularArrow">
          <a:avLst>
            <a:gd name="adj1" fmla="val 6905"/>
            <a:gd name="adj2" fmla="val 465547"/>
            <a:gd name="adj3" fmla="val 548597"/>
            <a:gd name="adj4" fmla="val 20585857"/>
            <a:gd name="adj5" fmla="val 8055"/>
          </a:avLst>
        </a:prstGeom>
        <a:solidFill>
          <a:schemeClr val="bg2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2D0F23A-99C2-874B-8F3C-B9891A026658}">
      <dsp:nvSpPr>
        <dsp:cNvPr id="0" name=""/>
        <dsp:cNvSpPr/>
      </dsp:nvSpPr>
      <dsp:spPr>
        <a:xfrm>
          <a:off x="1248511" y="1012394"/>
          <a:ext cx="575030" cy="5750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Check</a:t>
          </a:r>
          <a:endParaRPr lang="en-US" sz="1300" kern="1200" dirty="0"/>
        </a:p>
      </dsp:txBody>
      <dsp:txXfrm>
        <a:off x="1248511" y="1012394"/>
        <a:ext cx="575030" cy="575030"/>
      </dsp:txXfrm>
    </dsp:sp>
    <dsp:sp modelId="{B1C69493-9881-2F43-90D5-717D96F6294D}">
      <dsp:nvSpPr>
        <dsp:cNvPr id="0" name=""/>
        <dsp:cNvSpPr/>
      </dsp:nvSpPr>
      <dsp:spPr>
        <a:xfrm>
          <a:off x="235730" y="-386"/>
          <a:ext cx="1624025" cy="1624025"/>
        </a:xfrm>
        <a:prstGeom prst="circularArrow">
          <a:avLst>
            <a:gd name="adj1" fmla="val 6905"/>
            <a:gd name="adj2" fmla="val 465547"/>
            <a:gd name="adj3" fmla="val 5948597"/>
            <a:gd name="adj4" fmla="val 4385857"/>
            <a:gd name="adj5" fmla="val 8055"/>
          </a:avLst>
        </a:prstGeom>
        <a:solidFill>
          <a:schemeClr val="bg2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0167A6C-CDD2-C844-8F3E-06B3C30FF12F}">
      <dsp:nvSpPr>
        <dsp:cNvPr id="0" name=""/>
        <dsp:cNvSpPr/>
      </dsp:nvSpPr>
      <dsp:spPr>
        <a:xfrm>
          <a:off x="271943" y="1012394"/>
          <a:ext cx="575030" cy="5750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Adjust</a:t>
          </a:r>
          <a:endParaRPr lang="en-US" sz="1300" kern="1200" dirty="0"/>
        </a:p>
      </dsp:txBody>
      <dsp:txXfrm>
        <a:off x="271943" y="1012394"/>
        <a:ext cx="575030" cy="575030"/>
      </dsp:txXfrm>
    </dsp:sp>
    <dsp:sp modelId="{267064E2-B0F4-EF43-89FE-832CBD9B8DD1}">
      <dsp:nvSpPr>
        <dsp:cNvPr id="0" name=""/>
        <dsp:cNvSpPr/>
      </dsp:nvSpPr>
      <dsp:spPr>
        <a:xfrm>
          <a:off x="235730" y="-386"/>
          <a:ext cx="1624025" cy="1624025"/>
        </a:xfrm>
        <a:prstGeom prst="circularArrow">
          <a:avLst>
            <a:gd name="adj1" fmla="val 6905"/>
            <a:gd name="adj2" fmla="val 465547"/>
            <a:gd name="adj3" fmla="val 11348597"/>
            <a:gd name="adj4" fmla="val 9785857"/>
            <a:gd name="adj5" fmla="val 8055"/>
          </a:avLst>
        </a:prstGeom>
        <a:solidFill>
          <a:schemeClr val="bg2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C24B5F2-59F5-3B4A-B7C4-22DF14124EEA}">
      <dsp:nvSpPr>
        <dsp:cNvPr id="0" name=""/>
        <dsp:cNvSpPr/>
      </dsp:nvSpPr>
      <dsp:spPr>
        <a:xfrm>
          <a:off x="271943" y="35826"/>
          <a:ext cx="575030" cy="5750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Plan</a:t>
          </a:r>
          <a:endParaRPr lang="en-US" sz="1300" kern="1200" dirty="0"/>
        </a:p>
      </dsp:txBody>
      <dsp:txXfrm>
        <a:off x="271943" y="35826"/>
        <a:ext cx="575030" cy="575030"/>
      </dsp:txXfrm>
    </dsp:sp>
    <dsp:sp modelId="{30C84352-3DB4-B243-9775-F7BAF98E0DA8}">
      <dsp:nvSpPr>
        <dsp:cNvPr id="0" name=""/>
        <dsp:cNvSpPr/>
      </dsp:nvSpPr>
      <dsp:spPr>
        <a:xfrm>
          <a:off x="235730" y="-386"/>
          <a:ext cx="1624025" cy="1624025"/>
        </a:xfrm>
        <a:prstGeom prst="circularArrow">
          <a:avLst>
            <a:gd name="adj1" fmla="val 6905"/>
            <a:gd name="adj2" fmla="val 465547"/>
            <a:gd name="adj3" fmla="val 16748597"/>
            <a:gd name="adj4" fmla="val 15185857"/>
            <a:gd name="adj5" fmla="val 8055"/>
          </a:avLst>
        </a:prstGeom>
        <a:solidFill>
          <a:schemeClr val="bg2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2B32D2-6696-4560-948E-EA7E980DB774}" type="datetimeFigureOut">
              <a:rPr lang="ru-RU" smtClean="0"/>
              <a:t>03.03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8CDD86-F5E6-4E8B-86D2-18087948A8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7612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 let's discuss the Lean-Agile principles that underlie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F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Read through each of the principles on the slide]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don't have time in presentation to drill into each of these, but if you head down the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F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ourney, it will be important to learn why these principles are so critical to a successful implementation of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F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y are so important because principles trump practices. 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 if we're struggling with a practice, we're going to return to these basic principles to make sure that we're trying to build a system and an implementation that is as Lean and Agile as possible. </a:t>
            </a:r>
          </a:p>
          <a:p>
            <a:endParaRPr lang="en-US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8CDD86-F5E6-4E8B-86D2-18087948A81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05365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8CDD86-F5E6-4E8B-86D2-18087948A81A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99979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8CDD86-F5E6-4E8B-86D2-18087948A81A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80730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8CDD86-F5E6-4E8B-86D2-18087948A81A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95068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B2F42-7EB3-426A-AE0F-BE645EFDC311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5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B2F42-7EB3-426A-AE0F-BE645EFDC311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4342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8CDD86-F5E6-4E8B-86D2-18087948A81A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95068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ый треугольник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grpSp>
        <p:nvGrpSpPr>
          <p:cNvPr id="2" name="Группа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Полилиния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8" name="Полилиния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11" name="Полилиния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9C5D7757-3D99-47B0-BA07-4FABC4C5B24F}" type="datetimeFigureOut">
              <a:rPr lang="ru-RU" smtClean="0"/>
              <a:t>03.03.2017</a:t>
            </a:fld>
            <a:endParaRPr lang="ru-RU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lang="ru-RU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08B0E4EF-C207-4E55-8E33-A7C2A9975658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C5D7757-3D99-47B0-BA07-4FABC4C5B24F}" type="datetimeFigureOut">
              <a:rPr lang="ru-RU" smtClean="0"/>
              <a:t>03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8B0E4EF-C207-4E55-8E33-A7C2A9975658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C5D7757-3D99-47B0-BA07-4FABC4C5B24F}" type="datetimeFigureOut">
              <a:rPr lang="ru-RU" smtClean="0"/>
              <a:t>03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8B0E4EF-C207-4E55-8E33-A7C2A9975658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C5D7757-3D99-47B0-BA07-4FABC4C5B24F}" type="datetimeFigureOut">
              <a:rPr lang="ru-RU" smtClean="0"/>
              <a:t>03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8B0E4EF-C207-4E55-8E33-A7C2A9975658}" type="slidenum">
              <a:rPr lang="ru-RU" smtClean="0"/>
              <a:t>‹#›</a:t>
            </a:fld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C5D7757-3D99-47B0-BA07-4FABC4C5B24F}" type="datetimeFigureOut">
              <a:rPr lang="ru-RU" smtClean="0"/>
              <a:t>03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8B0E4EF-C207-4E55-8E33-A7C2A9975658}" type="slidenum">
              <a:rPr lang="ru-RU" smtClean="0"/>
              <a:t>‹#›</a:t>
            </a:fld>
            <a:endParaRPr lang="ru-RU"/>
          </a:p>
        </p:txBody>
      </p:sp>
      <p:sp>
        <p:nvSpPr>
          <p:cNvPr id="7" name="Нашивка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8" name="Нашивка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C5D7757-3D99-47B0-BA07-4FABC4C5B24F}" type="datetimeFigureOut">
              <a:rPr lang="ru-RU" smtClean="0"/>
              <a:t>03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8B0E4EF-C207-4E55-8E33-A7C2A9975658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C5D7757-3D99-47B0-BA07-4FABC4C5B24F}" type="datetimeFigureOut">
              <a:rPr lang="ru-RU" smtClean="0"/>
              <a:t>03.03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8B0E4EF-C207-4E55-8E33-A7C2A9975658}" type="slidenum">
              <a:rPr lang="ru-RU" smtClean="0"/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C5D7757-3D99-47B0-BA07-4FABC4C5B24F}" type="datetimeFigureOut">
              <a:rPr lang="ru-RU" smtClean="0"/>
              <a:t>03.03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8B0E4EF-C207-4E55-8E33-A7C2A9975658}" type="slidenum">
              <a:rPr lang="ru-RU" smtClean="0"/>
              <a:t>‹#›</a:t>
            </a:fld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C5D7757-3D99-47B0-BA07-4FABC4C5B24F}" type="datetimeFigureOut">
              <a:rPr lang="ru-RU" smtClean="0"/>
              <a:t>03.03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8B0E4EF-C207-4E55-8E33-A7C2A9975658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>
            <a:extLst/>
          </a:lstStyle>
          <a:p>
            <a:fld id="{9C5D7757-3D99-47B0-BA07-4FABC4C5B24F}" type="datetimeFigureOut">
              <a:rPr lang="ru-RU" smtClean="0"/>
              <a:t>03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8B0E4EF-C207-4E55-8E33-A7C2A9975658}" type="slidenum">
              <a:rPr lang="ru-RU" smtClean="0"/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9C5D7757-3D99-47B0-BA07-4FABC4C5B24F}" type="datetimeFigureOut">
              <a:rPr lang="ru-RU" smtClean="0"/>
              <a:t>03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08B0E4EF-C207-4E55-8E33-A7C2A9975658}" type="slidenum">
              <a:rPr lang="ru-RU" smtClean="0"/>
              <a:t>‹#›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9" name="Полилиния 8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0" name="Прямоугольный треугольник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Нашивка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13" name="Нашивка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2" name="Полилиния 11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4" name="Прямоугольный треугольник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3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fld id="{9C5D7757-3D99-47B0-BA07-4FABC4C5B24F}" type="datetimeFigureOut">
              <a:rPr lang="ru-RU" smtClean="0"/>
              <a:t>03.03.2017</a:t>
            </a:fld>
            <a:endParaRPr lang="ru-RU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endParaRPr lang="ru-RU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08B0E4EF-C207-4E55-8E33-A7C2A9975658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2" Type="http://schemas.openxmlformats.org/officeDocument/2006/relationships/tags" Target="../tags/tag12.xml"/><Relationship Id="rId16" Type="http://schemas.openxmlformats.org/officeDocument/2006/relationships/notesSlide" Target="../notesSlides/notesSlide7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png"/><Relationship Id="rId18" Type="http://schemas.openxmlformats.org/officeDocument/2006/relationships/image" Target="../media/image8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2.png"/><Relationship Id="rId17" Type="http://schemas.openxmlformats.org/officeDocument/2006/relationships/image" Target="../media/image7.png"/><Relationship Id="rId2" Type="http://schemas.openxmlformats.org/officeDocument/2006/relationships/tags" Target="../tags/tag2.xml"/><Relationship Id="rId16" Type="http://schemas.openxmlformats.org/officeDocument/2006/relationships/image" Target="../media/image6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5" Type="http://schemas.openxmlformats.org/officeDocument/2006/relationships/image" Target="../media/image5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effectLst/>
              </a:rPr>
              <a:t>Scaled Agile Framework</a:t>
            </a:r>
            <a:r>
              <a:rPr lang="en-US" b="0" dirty="0">
                <a:effectLst/>
              </a:rPr>
              <a:t> (or </a:t>
            </a:r>
            <a:r>
              <a:rPr lang="en-US" dirty="0" err="1">
                <a:effectLst/>
              </a:rPr>
              <a:t>SAFe</a:t>
            </a:r>
            <a:r>
              <a:rPr lang="en-US" b="0" dirty="0">
                <a:effectLst/>
              </a:rPr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38160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360382" y="3334969"/>
            <a:ext cx="8425480" cy="2630488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/>
              <a:t>Apply cadence and synchronization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/>
              <a:t>Establish local governance with Value Stream roles and Economic Framework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/>
              <a:t>Manage fixed and variable Solution Intent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/>
              <a:t>Manage the flow of Capabilities with the Value Stream Kanban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/>
              <a:t>Frequently </a:t>
            </a:r>
            <a:r>
              <a:rPr lang="en-US" sz="1800" dirty="0"/>
              <a:t>integrate </a:t>
            </a:r>
            <a:r>
              <a:rPr lang="en-US" sz="1800" dirty="0" smtClean="0"/>
              <a:t>and validate Customer solutions</a:t>
            </a:r>
          </a:p>
        </p:txBody>
      </p:sp>
      <p:pic>
        <p:nvPicPr>
          <p:cNvPr id="6" name="Picture 5" descr="02 Value Stream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4857" y="1166284"/>
            <a:ext cx="6734287" cy="2253496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w 4.0 Value Stream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33882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</a:t>
            </a:r>
            <a:endParaRPr lang="ru-RU" dirty="0"/>
          </a:p>
        </p:txBody>
      </p:sp>
      <p:grpSp>
        <p:nvGrpSpPr>
          <p:cNvPr id="7" name="Group 29"/>
          <p:cNvGrpSpPr/>
          <p:nvPr/>
        </p:nvGrpSpPr>
        <p:grpSpPr>
          <a:xfrm>
            <a:off x="2971768" y="2076558"/>
            <a:ext cx="3198140" cy="3198140"/>
            <a:chOff x="2354580" y="1458147"/>
            <a:chExt cx="4434840" cy="4434840"/>
          </a:xfrm>
        </p:grpSpPr>
        <p:sp>
          <p:nvSpPr>
            <p:cNvPr id="8" name="Oval 44"/>
            <p:cNvSpPr/>
            <p:nvPr>
              <p:custDataLst>
                <p:tags r:id="rId1"/>
              </p:custDataLst>
            </p:nvPr>
          </p:nvSpPr>
          <p:spPr>
            <a:xfrm>
              <a:off x="2354580" y="1458147"/>
              <a:ext cx="4434840" cy="4434840"/>
            </a:xfrm>
            <a:prstGeom prst="ellipse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srgbClr val="FFFFFF"/>
                </a:solidFill>
                <a:latin typeface="Open Sans"/>
                <a:cs typeface="Open Sans"/>
              </a:endParaRPr>
            </a:p>
          </p:txBody>
        </p:sp>
        <p:sp>
          <p:nvSpPr>
            <p:cNvPr id="9" name="Rectangle 6"/>
            <p:cNvSpPr/>
            <p:nvPr>
              <p:custDataLst>
                <p:tags r:id="rId2"/>
              </p:custDataLst>
            </p:nvPr>
          </p:nvSpPr>
          <p:spPr>
            <a:xfrm>
              <a:off x="4572000" y="1574760"/>
              <a:ext cx="2120168" cy="2100807"/>
            </a:xfrm>
            <a:custGeom>
              <a:avLst/>
              <a:gdLst/>
              <a:ahLst/>
              <a:cxnLst/>
              <a:rect l="l" t="t" r="r" b="b"/>
              <a:pathLst>
                <a:path w="2120168" h="2100807">
                  <a:moveTo>
                    <a:pt x="0" y="0"/>
                  </a:moveTo>
                  <a:cubicBezTo>
                    <a:pt x="1162180" y="5734"/>
                    <a:pt x="2104392" y="941212"/>
                    <a:pt x="2120168" y="2100807"/>
                  </a:cubicBezTo>
                  <a:lnTo>
                    <a:pt x="0" y="2100807"/>
                  </a:lnTo>
                  <a:close/>
                </a:path>
              </a:pathLst>
            </a:custGeom>
            <a:solidFill>
              <a:schemeClr val="accent5"/>
            </a:solidFill>
            <a:ln w="381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6858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Bef>
                  <a:spcPct val="20000"/>
                </a:spcBef>
                <a:buClr>
                  <a:srgbClr val="FFFFFF"/>
                </a:buClr>
                <a:buSzPct val="100000"/>
                <a:defRPr/>
              </a:pPr>
              <a:endParaRPr lang="en-US" sz="1050" b="1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Open Sans"/>
              </a:endParaRPr>
            </a:p>
          </p:txBody>
        </p:sp>
        <p:sp>
          <p:nvSpPr>
            <p:cNvPr id="10" name="Rectangle 6"/>
            <p:cNvSpPr/>
            <p:nvPr>
              <p:custDataLst>
                <p:tags r:id="rId3"/>
              </p:custDataLst>
            </p:nvPr>
          </p:nvSpPr>
          <p:spPr>
            <a:xfrm flipH="1">
              <a:off x="2451832" y="1574760"/>
              <a:ext cx="2120168" cy="2100807"/>
            </a:xfrm>
            <a:custGeom>
              <a:avLst/>
              <a:gdLst/>
              <a:ahLst/>
              <a:cxnLst/>
              <a:rect l="l" t="t" r="r" b="b"/>
              <a:pathLst>
                <a:path w="2120168" h="2100807">
                  <a:moveTo>
                    <a:pt x="0" y="0"/>
                  </a:moveTo>
                  <a:cubicBezTo>
                    <a:pt x="1162180" y="5734"/>
                    <a:pt x="2104392" y="941212"/>
                    <a:pt x="2120168" y="2100807"/>
                  </a:cubicBezTo>
                  <a:lnTo>
                    <a:pt x="0" y="2100807"/>
                  </a:lnTo>
                  <a:close/>
                </a:path>
              </a:pathLst>
            </a:custGeom>
            <a:solidFill>
              <a:schemeClr val="accent2"/>
            </a:solidFill>
            <a:ln w="381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68580" numCol="1" rtlCol="0" anchor="b" anchorCtr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Bef>
                  <a:spcPct val="20000"/>
                </a:spcBef>
                <a:buClr>
                  <a:srgbClr val="FFFFFF"/>
                </a:buClr>
                <a:buSzPct val="100000"/>
                <a:defRPr/>
              </a:pPr>
              <a:endParaRPr lang="en-US" sz="1050" b="1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Open Sans"/>
              </a:endParaRPr>
            </a:p>
          </p:txBody>
        </p:sp>
        <p:sp>
          <p:nvSpPr>
            <p:cNvPr id="11" name="Rectangle 6"/>
            <p:cNvSpPr/>
            <p:nvPr>
              <p:custDataLst>
                <p:tags r:id="rId4"/>
              </p:custDataLst>
            </p:nvPr>
          </p:nvSpPr>
          <p:spPr>
            <a:xfrm flipV="1">
              <a:off x="4572000" y="3675567"/>
              <a:ext cx="2120168" cy="2100807"/>
            </a:xfrm>
            <a:custGeom>
              <a:avLst/>
              <a:gdLst/>
              <a:ahLst/>
              <a:cxnLst/>
              <a:rect l="l" t="t" r="r" b="b"/>
              <a:pathLst>
                <a:path w="2120168" h="2100807">
                  <a:moveTo>
                    <a:pt x="0" y="0"/>
                  </a:moveTo>
                  <a:cubicBezTo>
                    <a:pt x="1162180" y="5734"/>
                    <a:pt x="2104392" y="941212"/>
                    <a:pt x="2120168" y="2100807"/>
                  </a:cubicBezTo>
                  <a:lnTo>
                    <a:pt x="0" y="2100807"/>
                  </a:lnTo>
                  <a:close/>
                </a:path>
              </a:pathLst>
            </a:custGeom>
            <a:solidFill>
              <a:schemeClr val="accent4"/>
            </a:solidFill>
            <a:ln w="381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spcFirstLastPara="0" vert="horz" wrap="square" lIns="58103" tIns="58103" rIns="58103" bIns="58103" numCol="1" spcCol="1270" anchor="ctr" anchorCtr="0">
              <a:noAutofit/>
            </a:bodyPr>
            <a:lstStyle/>
            <a:p>
              <a:pPr algn="ctr" defTabSz="685800">
                <a:spcBef>
                  <a:spcPct val="20000"/>
                </a:spcBef>
                <a:buClr>
                  <a:srgbClr val="FFFFFF"/>
                </a:buClr>
                <a:buSzPct val="100000"/>
                <a:defRPr/>
              </a:pPr>
              <a:endParaRPr lang="en-US" sz="1050" b="1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Open Sans"/>
              </a:endParaRPr>
            </a:p>
          </p:txBody>
        </p:sp>
        <p:sp>
          <p:nvSpPr>
            <p:cNvPr id="12" name="Rectangle 6"/>
            <p:cNvSpPr/>
            <p:nvPr>
              <p:custDataLst>
                <p:tags r:id="rId5"/>
              </p:custDataLst>
            </p:nvPr>
          </p:nvSpPr>
          <p:spPr>
            <a:xfrm flipH="1" flipV="1">
              <a:off x="2451832" y="3675567"/>
              <a:ext cx="2120168" cy="2100807"/>
            </a:xfrm>
            <a:custGeom>
              <a:avLst/>
              <a:gdLst/>
              <a:ahLst/>
              <a:cxnLst/>
              <a:rect l="l" t="t" r="r" b="b"/>
              <a:pathLst>
                <a:path w="2120168" h="2100807">
                  <a:moveTo>
                    <a:pt x="0" y="0"/>
                  </a:moveTo>
                  <a:cubicBezTo>
                    <a:pt x="1162180" y="5734"/>
                    <a:pt x="2104392" y="941212"/>
                    <a:pt x="2120168" y="2100807"/>
                  </a:cubicBezTo>
                  <a:lnTo>
                    <a:pt x="0" y="2100807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381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spcFirstLastPara="0" vert="horz" wrap="square" lIns="58103" tIns="58103" rIns="58103" bIns="58103" numCol="1" spcCol="1270" anchor="ctr" anchorCtr="0">
              <a:noAutofit/>
            </a:bodyPr>
            <a:lstStyle/>
            <a:p>
              <a:pPr algn="ctr" defTabSz="685800">
                <a:spcBef>
                  <a:spcPct val="20000"/>
                </a:spcBef>
                <a:buClr>
                  <a:srgbClr val="FFFFFF"/>
                </a:buClr>
                <a:buSzPct val="100000"/>
                <a:defRPr/>
              </a:pPr>
              <a:endParaRPr lang="en-US" sz="1050" b="1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Open Sans"/>
              </a:endParaRPr>
            </a:p>
          </p:txBody>
        </p:sp>
        <p:sp>
          <p:nvSpPr>
            <p:cNvPr id="13" name="Oval 58"/>
            <p:cNvSpPr/>
            <p:nvPr>
              <p:custDataLst>
                <p:tags r:id="rId6"/>
              </p:custDataLst>
            </p:nvPr>
          </p:nvSpPr>
          <p:spPr>
            <a:xfrm>
              <a:off x="3276600" y="2380167"/>
              <a:ext cx="2590800" cy="2590800"/>
            </a:xfrm>
            <a:prstGeom prst="ellipse">
              <a:avLst/>
            </a:prstGeom>
            <a:solidFill>
              <a:srgbClr val="FFFFFF">
                <a:lumMod val="85000"/>
                <a:alpha val="6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spcBef>
                  <a:spcPct val="20000"/>
                </a:spcBef>
                <a:buClr>
                  <a:srgbClr val="FFFFFF"/>
                </a:buClr>
                <a:buSzPct val="100000"/>
                <a:defRPr/>
              </a:pPr>
              <a:endParaRPr lang="en-US" b="1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000000"/>
                </a:solidFill>
                <a:latin typeface="Open Sans"/>
                <a:cs typeface="Open Sans"/>
              </a:endParaRPr>
            </a:p>
          </p:txBody>
        </p:sp>
        <p:sp>
          <p:nvSpPr>
            <p:cNvPr id="14" name="Rectangle 59"/>
            <p:cNvSpPr/>
            <p:nvPr>
              <p:custDataLst>
                <p:tags r:id="rId7"/>
              </p:custDataLst>
            </p:nvPr>
          </p:nvSpPr>
          <p:spPr>
            <a:xfrm rot="2619392">
              <a:off x="3518198" y="2141462"/>
              <a:ext cx="2889204" cy="2296630"/>
            </a:xfrm>
            <a:prstGeom prst="rect">
              <a:avLst/>
            </a:prstGeom>
            <a:solidFill>
              <a:schemeClr val="accent6">
                <a:alpha val="0"/>
              </a:schemeClr>
            </a:solidFill>
            <a:effectLst/>
          </p:spPr>
          <p:txBody>
            <a:bodyPr wrap="none">
              <a:prstTxWarp prst="textArchUp">
                <a:avLst>
                  <a:gd name="adj" fmla="val 13576967"/>
                </a:avLst>
              </a:prstTxWarp>
              <a:spAutoFit/>
            </a:bodyPr>
            <a:lstStyle/>
            <a:p>
              <a:pPr algn="ctr" defTabSz="685800">
                <a:spcBef>
                  <a:spcPct val="20000"/>
                </a:spcBef>
                <a:buClr>
                  <a:srgbClr val="FFFFFF"/>
                </a:buClr>
                <a:buSzPct val="100000"/>
                <a:defRPr/>
              </a:pPr>
              <a:r>
                <a:rPr lang="en-US" sz="1500" b="1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Open Sans"/>
                  <a:cs typeface="Open Sans"/>
                </a:rPr>
                <a:t>TIME TO MARKET</a:t>
              </a:r>
            </a:p>
          </p:txBody>
        </p:sp>
        <p:sp>
          <p:nvSpPr>
            <p:cNvPr id="15" name="Rectangle 60"/>
            <p:cNvSpPr/>
            <p:nvPr>
              <p:custDataLst>
                <p:tags r:id="rId8"/>
              </p:custDataLst>
            </p:nvPr>
          </p:nvSpPr>
          <p:spPr>
            <a:xfrm rot="18819392">
              <a:off x="2743020" y="2079921"/>
              <a:ext cx="3093340" cy="2582692"/>
            </a:xfrm>
            <a:prstGeom prst="rect">
              <a:avLst/>
            </a:prstGeom>
            <a:solidFill>
              <a:schemeClr val="accent4">
                <a:alpha val="0"/>
              </a:schemeClr>
            </a:solidFill>
            <a:effectLst/>
          </p:spPr>
          <p:txBody>
            <a:bodyPr wrap="none">
              <a:prstTxWarp prst="textArchUp">
                <a:avLst>
                  <a:gd name="adj" fmla="val 13576967"/>
                </a:avLst>
              </a:prstTxWarp>
              <a:spAutoFit/>
            </a:bodyPr>
            <a:lstStyle/>
            <a:p>
              <a:pPr algn="ctr" defTabSz="685800">
                <a:spcBef>
                  <a:spcPct val="20000"/>
                </a:spcBef>
                <a:buClr>
                  <a:srgbClr val="FFFFFF"/>
                </a:buClr>
                <a:buSzPct val="100000"/>
                <a:defRPr/>
              </a:pPr>
              <a:r>
                <a:rPr lang="en-US" sz="1500" b="1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Open Sans"/>
                  <a:cs typeface="Open Sans"/>
                </a:rPr>
                <a:t>ENGAGEMENT</a:t>
              </a:r>
            </a:p>
          </p:txBody>
        </p:sp>
        <p:sp>
          <p:nvSpPr>
            <p:cNvPr id="16" name="Rectangle 61"/>
            <p:cNvSpPr/>
            <p:nvPr>
              <p:custDataLst>
                <p:tags r:id="rId9"/>
              </p:custDataLst>
            </p:nvPr>
          </p:nvSpPr>
          <p:spPr>
            <a:xfrm rot="18819392">
              <a:off x="4248469" y="3547865"/>
              <a:ext cx="2123402" cy="1572466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effectLst/>
          </p:spPr>
          <p:txBody>
            <a:bodyPr wrap="none" anchor="t">
              <a:prstTxWarp prst="textArchDown">
                <a:avLst>
                  <a:gd name="adj" fmla="val 2823306"/>
                </a:avLst>
              </a:prstTxWarp>
              <a:spAutoFit/>
            </a:bodyPr>
            <a:lstStyle/>
            <a:p>
              <a:pPr algn="ctr" defTabSz="685800">
                <a:spcBef>
                  <a:spcPct val="20000"/>
                </a:spcBef>
                <a:buClr>
                  <a:srgbClr val="FFFFFF"/>
                </a:buClr>
                <a:buSzPct val="100000"/>
                <a:defRPr/>
              </a:pPr>
              <a:r>
                <a:rPr lang="en-US" sz="1500" b="1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Open Sans"/>
                  <a:cs typeface="Open Sans"/>
                </a:rPr>
                <a:t>QUALITY</a:t>
              </a:r>
            </a:p>
          </p:txBody>
        </p:sp>
        <p:sp>
          <p:nvSpPr>
            <p:cNvPr id="17" name="Rectangle 62"/>
            <p:cNvSpPr/>
            <p:nvPr>
              <p:custDataLst>
                <p:tags r:id="rId10"/>
              </p:custDataLst>
            </p:nvPr>
          </p:nvSpPr>
          <p:spPr>
            <a:xfrm rot="2619392">
              <a:off x="2675620" y="2827523"/>
              <a:ext cx="3020218" cy="2455755"/>
            </a:xfrm>
            <a:prstGeom prst="rect">
              <a:avLst/>
            </a:prstGeom>
            <a:solidFill>
              <a:schemeClr val="accent2">
                <a:alpha val="0"/>
              </a:schemeClr>
            </a:solidFill>
            <a:effectLst/>
          </p:spPr>
          <p:txBody>
            <a:bodyPr wrap="none" anchor="t">
              <a:prstTxWarp prst="textArchDown">
                <a:avLst>
                  <a:gd name="adj" fmla="val 2823306"/>
                </a:avLst>
              </a:prstTxWarp>
              <a:spAutoFit/>
            </a:bodyPr>
            <a:lstStyle/>
            <a:p>
              <a:pPr algn="ctr" defTabSz="685800">
                <a:spcBef>
                  <a:spcPct val="20000"/>
                </a:spcBef>
                <a:buClr>
                  <a:srgbClr val="FFFFFF"/>
                </a:buClr>
                <a:buSzPct val="100000"/>
                <a:defRPr/>
              </a:pPr>
              <a:r>
                <a:rPr lang="en-US" sz="1500" b="1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latin typeface="Open Sans"/>
                  <a:cs typeface="Open Sans"/>
                </a:rPr>
                <a:t>PRODUCTIVITY</a:t>
              </a:r>
            </a:p>
          </p:txBody>
        </p:sp>
        <p:sp>
          <p:nvSpPr>
            <p:cNvPr id="18" name="Rectangle 64"/>
            <p:cNvSpPr/>
            <p:nvPr/>
          </p:nvSpPr>
          <p:spPr>
            <a:xfrm>
              <a:off x="3592422" y="3297585"/>
              <a:ext cx="1959158" cy="8962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>
                <a:spcBef>
                  <a:spcPct val="20000"/>
                </a:spcBef>
                <a:buClr>
                  <a:srgbClr val="FFFFFF"/>
                </a:buClr>
                <a:buSzPct val="100000"/>
                <a:defRPr/>
              </a:pPr>
              <a:r>
                <a:rPr lang="en-US" b="1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>
                    <a:glow rad="342900">
                      <a:srgbClr val="FFFFFF">
                        <a:alpha val="52000"/>
                      </a:srgbClr>
                    </a:glow>
                    <a:outerShdw blurRad="50800" dist="139700" dir="2700000" algn="tl" rotWithShape="0">
                      <a:srgbClr val="FFFFFF">
                        <a:alpha val="86000"/>
                      </a:srgbClr>
                    </a:outerShdw>
                  </a:effectLst>
                  <a:latin typeface="Open Sans"/>
                  <a:cs typeface="Open Sans"/>
                </a:rPr>
                <a:t>BUSINESS RESULTS</a:t>
              </a:r>
            </a:p>
          </p:txBody>
        </p:sp>
        <p:sp>
          <p:nvSpPr>
            <p:cNvPr id="19" name="Curved Down Arrow 32"/>
            <p:cNvSpPr/>
            <p:nvPr>
              <p:custDataLst>
                <p:tags r:id="rId11"/>
              </p:custDataLst>
            </p:nvPr>
          </p:nvSpPr>
          <p:spPr>
            <a:xfrm rot="13874276" flipH="1">
              <a:off x="3643332" y="4147871"/>
              <a:ext cx="332993" cy="628284"/>
            </a:xfrm>
            <a:custGeom>
              <a:avLst/>
              <a:gdLst>
                <a:gd name="connsiteX0" fmla="*/ 0 w 389067"/>
                <a:gd name="connsiteY0" fmla="*/ 14695 h 736470"/>
                <a:gd name="connsiteX1" fmla="*/ 199235 w 389067"/>
                <a:gd name="connsiteY1" fmla="*/ 0 h 736470"/>
                <a:gd name="connsiteX2" fmla="*/ 305209 w 389067"/>
                <a:gd name="connsiteY2" fmla="*/ 580640 h 736470"/>
                <a:gd name="connsiteX3" fmla="*/ 389067 w 389067"/>
                <a:gd name="connsiteY3" fmla="*/ 576035 h 736470"/>
                <a:gd name="connsiteX4" fmla="*/ 214483 w 389067"/>
                <a:gd name="connsiteY4" fmla="*/ 736470 h 736470"/>
                <a:gd name="connsiteX5" fmla="*/ 31683 w 389067"/>
                <a:gd name="connsiteY5" fmla="*/ 593917 h 736470"/>
                <a:gd name="connsiteX6" fmla="*/ 120148 w 389067"/>
                <a:gd name="connsiteY6" fmla="*/ 580640 h 736470"/>
                <a:gd name="connsiteX7" fmla="*/ 0 w 389067"/>
                <a:gd name="connsiteY7" fmla="*/ 14695 h 736470"/>
                <a:gd name="connsiteX0" fmla="*/ 0 w 389067"/>
                <a:gd name="connsiteY0" fmla="*/ 19958 h 741733"/>
                <a:gd name="connsiteX1" fmla="*/ 207380 w 389067"/>
                <a:gd name="connsiteY1" fmla="*/ 0 h 741733"/>
                <a:gd name="connsiteX2" fmla="*/ 305209 w 389067"/>
                <a:gd name="connsiteY2" fmla="*/ 585903 h 741733"/>
                <a:gd name="connsiteX3" fmla="*/ 389067 w 389067"/>
                <a:gd name="connsiteY3" fmla="*/ 581298 h 741733"/>
                <a:gd name="connsiteX4" fmla="*/ 214483 w 389067"/>
                <a:gd name="connsiteY4" fmla="*/ 741733 h 741733"/>
                <a:gd name="connsiteX5" fmla="*/ 31683 w 389067"/>
                <a:gd name="connsiteY5" fmla="*/ 599180 h 741733"/>
                <a:gd name="connsiteX6" fmla="*/ 120148 w 389067"/>
                <a:gd name="connsiteY6" fmla="*/ 585903 h 741733"/>
                <a:gd name="connsiteX7" fmla="*/ 0 w 389067"/>
                <a:gd name="connsiteY7" fmla="*/ 19958 h 741733"/>
                <a:gd name="connsiteX0" fmla="*/ 0 w 368890"/>
                <a:gd name="connsiteY0" fmla="*/ 18947 h 741733"/>
                <a:gd name="connsiteX1" fmla="*/ 187203 w 368890"/>
                <a:gd name="connsiteY1" fmla="*/ 0 h 741733"/>
                <a:gd name="connsiteX2" fmla="*/ 285032 w 368890"/>
                <a:gd name="connsiteY2" fmla="*/ 585903 h 741733"/>
                <a:gd name="connsiteX3" fmla="*/ 368890 w 368890"/>
                <a:gd name="connsiteY3" fmla="*/ 581298 h 741733"/>
                <a:gd name="connsiteX4" fmla="*/ 194306 w 368890"/>
                <a:gd name="connsiteY4" fmla="*/ 741733 h 741733"/>
                <a:gd name="connsiteX5" fmla="*/ 11506 w 368890"/>
                <a:gd name="connsiteY5" fmla="*/ 599180 h 741733"/>
                <a:gd name="connsiteX6" fmla="*/ 99971 w 368890"/>
                <a:gd name="connsiteY6" fmla="*/ 585903 h 741733"/>
                <a:gd name="connsiteX7" fmla="*/ 0 w 368890"/>
                <a:gd name="connsiteY7" fmla="*/ 18947 h 741733"/>
                <a:gd name="connsiteX0" fmla="*/ 0 w 368890"/>
                <a:gd name="connsiteY0" fmla="*/ 4317 h 727103"/>
                <a:gd name="connsiteX1" fmla="*/ 190264 w 368890"/>
                <a:gd name="connsiteY1" fmla="*/ 0 h 727103"/>
                <a:gd name="connsiteX2" fmla="*/ 285032 w 368890"/>
                <a:gd name="connsiteY2" fmla="*/ 571273 h 727103"/>
                <a:gd name="connsiteX3" fmla="*/ 368890 w 368890"/>
                <a:gd name="connsiteY3" fmla="*/ 566668 h 727103"/>
                <a:gd name="connsiteX4" fmla="*/ 194306 w 368890"/>
                <a:gd name="connsiteY4" fmla="*/ 727103 h 727103"/>
                <a:gd name="connsiteX5" fmla="*/ 11506 w 368890"/>
                <a:gd name="connsiteY5" fmla="*/ 584550 h 727103"/>
                <a:gd name="connsiteX6" fmla="*/ 99971 w 368890"/>
                <a:gd name="connsiteY6" fmla="*/ 571273 h 727103"/>
                <a:gd name="connsiteX7" fmla="*/ 0 w 368890"/>
                <a:gd name="connsiteY7" fmla="*/ 4317 h 727103"/>
                <a:gd name="connsiteX0" fmla="*/ 0 w 368890"/>
                <a:gd name="connsiteY0" fmla="*/ 4317 h 727103"/>
                <a:gd name="connsiteX1" fmla="*/ 190264 w 368890"/>
                <a:gd name="connsiteY1" fmla="*/ 0 h 727103"/>
                <a:gd name="connsiteX2" fmla="*/ 285032 w 368890"/>
                <a:gd name="connsiteY2" fmla="*/ 571273 h 727103"/>
                <a:gd name="connsiteX3" fmla="*/ 368890 w 368890"/>
                <a:gd name="connsiteY3" fmla="*/ 566668 h 727103"/>
                <a:gd name="connsiteX4" fmla="*/ 194306 w 368890"/>
                <a:gd name="connsiteY4" fmla="*/ 727103 h 727103"/>
                <a:gd name="connsiteX5" fmla="*/ 11506 w 368890"/>
                <a:gd name="connsiteY5" fmla="*/ 584550 h 727103"/>
                <a:gd name="connsiteX6" fmla="*/ 99971 w 368890"/>
                <a:gd name="connsiteY6" fmla="*/ 571273 h 727103"/>
                <a:gd name="connsiteX7" fmla="*/ 0 w 368890"/>
                <a:gd name="connsiteY7" fmla="*/ 4317 h 727103"/>
                <a:gd name="connsiteX0" fmla="*/ 0 w 368890"/>
                <a:gd name="connsiteY0" fmla="*/ 4317 h 727103"/>
                <a:gd name="connsiteX1" fmla="*/ 190264 w 368890"/>
                <a:gd name="connsiteY1" fmla="*/ 0 h 727103"/>
                <a:gd name="connsiteX2" fmla="*/ 285032 w 368890"/>
                <a:gd name="connsiteY2" fmla="*/ 571273 h 727103"/>
                <a:gd name="connsiteX3" fmla="*/ 368890 w 368890"/>
                <a:gd name="connsiteY3" fmla="*/ 566668 h 727103"/>
                <a:gd name="connsiteX4" fmla="*/ 194306 w 368890"/>
                <a:gd name="connsiteY4" fmla="*/ 727103 h 727103"/>
                <a:gd name="connsiteX5" fmla="*/ 10684 w 368890"/>
                <a:gd name="connsiteY5" fmla="*/ 567704 h 727103"/>
                <a:gd name="connsiteX6" fmla="*/ 99971 w 368890"/>
                <a:gd name="connsiteY6" fmla="*/ 571273 h 727103"/>
                <a:gd name="connsiteX7" fmla="*/ 0 w 368890"/>
                <a:gd name="connsiteY7" fmla="*/ 4317 h 727103"/>
                <a:gd name="connsiteX0" fmla="*/ 0 w 363912"/>
                <a:gd name="connsiteY0" fmla="*/ 4317 h 727103"/>
                <a:gd name="connsiteX1" fmla="*/ 190264 w 363912"/>
                <a:gd name="connsiteY1" fmla="*/ 0 h 727103"/>
                <a:gd name="connsiteX2" fmla="*/ 285032 w 363912"/>
                <a:gd name="connsiteY2" fmla="*/ 571273 h 727103"/>
                <a:gd name="connsiteX3" fmla="*/ 363912 w 363912"/>
                <a:gd name="connsiteY3" fmla="*/ 585949 h 727103"/>
                <a:gd name="connsiteX4" fmla="*/ 194306 w 363912"/>
                <a:gd name="connsiteY4" fmla="*/ 727103 h 727103"/>
                <a:gd name="connsiteX5" fmla="*/ 10684 w 363912"/>
                <a:gd name="connsiteY5" fmla="*/ 567704 h 727103"/>
                <a:gd name="connsiteX6" fmla="*/ 99971 w 363912"/>
                <a:gd name="connsiteY6" fmla="*/ 571273 h 727103"/>
                <a:gd name="connsiteX7" fmla="*/ 0 w 363912"/>
                <a:gd name="connsiteY7" fmla="*/ 4317 h 727103"/>
                <a:gd name="connsiteX0" fmla="*/ 0 w 358113"/>
                <a:gd name="connsiteY0" fmla="*/ 4317 h 727103"/>
                <a:gd name="connsiteX1" fmla="*/ 190264 w 358113"/>
                <a:gd name="connsiteY1" fmla="*/ 0 h 727103"/>
                <a:gd name="connsiteX2" fmla="*/ 285032 w 358113"/>
                <a:gd name="connsiteY2" fmla="*/ 571273 h 727103"/>
                <a:gd name="connsiteX3" fmla="*/ 358113 w 358113"/>
                <a:gd name="connsiteY3" fmla="*/ 588385 h 727103"/>
                <a:gd name="connsiteX4" fmla="*/ 194306 w 358113"/>
                <a:gd name="connsiteY4" fmla="*/ 727103 h 727103"/>
                <a:gd name="connsiteX5" fmla="*/ 10684 w 358113"/>
                <a:gd name="connsiteY5" fmla="*/ 567704 h 727103"/>
                <a:gd name="connsiteX6" fmla="*/ 99971 w 358113"/>
                <a:gd name="connsiteY6" fmla="*/ 571273 h 727103"/>
                <a:gd name="connsiteX7" fmla="*/ 0 w 358113"/>
                <a:gd name="connsiteY7" fmla="*/ 4317 h 727103"/>
                <a:gd name="connsiteX0" fmla="*/ 0 w 358113"/>
                <a:gd name="connsiteY0" fmla="*/ 4317 h 727103"/>
                <a:gd name="connsiteX1" fmla="*/ 190264 w 358113"/>
                <a:gd name="connsiteY1" fmla="*/ 0 h 727103"/>
                <a:gd name="connsiteX2" fmla="*/ 273845 w 358113"/>
                <a:gd name="connsiteY2" fmla="*/ 584567 h 727103"/>
                <a:gd name="connsiteX3" fmla="*/ 358113 w 358113"/>
                <a:gd name="connsiteY3" fmla="*/ 588385 h 727103"/>
                <a:gd name="connsiteX4" fmla="*/ 194306 w 358113"/>
                <a:gd name="connsiteY4" fmla="*/ 727103 h 727103"/>
                <a:gd name="connsiteX5" fmla="*/ 10684 w 358113"/>
                <a:gd name="connsiteY5" fmla="*/ 567704 h 727103"/>
                <a:gd name="connsiteX6" fmla="*/ 99971 w 358113"/>
                <a:gd name="connsiteY6" fmla="*/ 571273 h 727103"/>
                <a:gd name="connsiteX7" fmla="*/ 0 w 358113"/>
                <a:gd name="connsiteY7" fmla="*/ 4317 h 727103"/>
                <a:gd name="connsiteX0" fmla="*/ 0 w 362869"/>
                <a:gd name="connsiteY0" fmla="*/ 4317 h 727103"/>
                <a:gd name="connsiteX1" fmla="*/ 190264 w 362869"/>
                <a:gd name="connsiteY1" fmla="*/ 0 h 727103"/>
                <a:gd name="connsiteX2" fmla="*/ 273845 w 362869"/>
                <a:gd name="connsiteY2" fmla="*/ 584567 h 727103"/>
                <a:gd name="connsiteX3" fmla="*/ 362869 w 362869"/>
                <a:gd name="connsiteY3" fmla="*/ 605011 h 727103"/>
                <a:gd name="connsiteX4" fmla="*/ 194306 w 362869"/>
                <a:gd name="connsiteY4" fmla="*/ 727103 h 727103"/>
                <a:gd name="connsiteX5" fmla="*/ 10684 w 362869"/>
                <a:gd name="connsiteY5" fmla="*/ 567704 h 727103"/>
                <a:gd name="connsiteX6" fmla="*/ 99971 w 362869"/>
                <a:gd name="connsiteY6" fmla="*/ 571273 h 727103"/>
                <a:gd name="connsiteX7" fmla="*/ 0 w 362869"/>
                <a:gd name="connsiteY7" fmla="*/ 4317 h 727103"/>
                <a:gd name="connsiteX0" fmla="*/ 0 w 362869"/>
                <a:gd name="connsiteY0" fmla="*/ 4317 h 727103"/>
                <a:gd name="connsiteX1" fmla="*/ 190264 w 362869"/>
                <a:gd name="connsiteY1" fmla="*/ 0 h 727103"/>
                <a:gd name="connsiteX2" fmla="*/ 273845 w 362869"/>
                <a:gd name="connsiteY2" fmla="*/ 584567 h 727103"/>
                <a:gd name="connsiteX3" fmla="*/ 362869 w 362869"/>
                <a:gd name="connsiteY3" fmla="*/ 605011 h 727103"/>
                <a:gd name="connsiteX4" fmla="*/ 194306 w 362869"/>
                <a:gd name="connsiteY4" fmla="*/ 727103 h 727103"/>
                <a:gd name="connsiteX5" fmla="*/ 22077 w 362869"/>
                <a:gd name="connsiteY5" fmla="*/ 558622 h 727103"/>
                <a:gd name="connsiteX6" fmla="*/ 99971 w 362869"/>
                <a:gd name="connsiteY6" fmla="*/ 571273 h 727103"/>
                <a:gd name="connsiteX7" fmla="*/ 0 w 362869"/>
                <a:gd name="connsiteY7" fmla="*/ 4317 h 727103"/>
                <a:gd name="connsiteX0" fmla="*/ 0 w 362869"/>
                <a:gd name="connsiteY0" fmla="*/ 4317 h 727103"/>
                <a:gd name="connsiteX1" fmla="*/ 190264 w 362869"/>
                <a:gd name="connsiteY1" fmla="*/ 0 h 727103"/>
                <a:gd name="connsiteX2" fmla="*/ 273845 w 362869"/>
                <a:gd name="connsiteY2" fmla="*/ 584567 h 727103"/>
                <a:gd name="connsiteX3" fmla="*/ 362869 w 362869"/>
                <a:gd name="connsiteY3" fmla="*/ 605011 h 727103"/>
                <a:gd name="connsiteX4" fmla="*/ 194306 w 362869"/>
                <a:gd name="connsiteY4" fmla="*/ 727103 h 727103"/>
                <a:gd name="connsiteX5" fmla="*/ 24763 w 362869"/>
                <a:gd name="connsiteY5" fmla="*/ 573252 h 727103"/>
                <a:gd name="connsiteX6" fmla="*/ 99971 w 362869"/>
                <a:gd name="connsiteY6" fmla="*/ 571273 h 727103"/>
                <a:gd name="connsiteX7" fmla="*/ 0 w 362869"/>
                <a:gd name="connsiteY7" fmla="*/ 4317 h 727103"/>
                <a:gd name="connsiteX0" fmla="*/ 0 w 359346"/>
                <a:gd name="connsiteY0" fmla="*/ 4317 h 727103"/>
                <a:gd name="connsiteX1" fmla="*/ 190264 w 359346"/>
                <a:gd name="connsiteY1" fmla="*/ 0 h 727103"/>
                <a:gd name="connsiteX2" fmla="*/ 273845 w 359346"/>
                <a:gd name="connsiteY2" fmla="*/ 584567 h 727103"/>
                <a:gd name="connsiteX3" fmla="*/ 359346 w 359346"/>
                <a:gd name="connsiteY3" fmla="*/ 613653 h 727103"/>
                <a:gd name="connsiteX4" fmla="*/ 194306 w 359346"/>
                <a:gd name="connsiteY4" fmla="*/ 727103 h 727103"/>
                <a:gd name="connsiteX5" fmla="*/ 24763 w 359346"/>
                <a:gd name="connsiteY5" fmla="*/ 573252 h 727103"/>
                <a:gd name="connsiteX6" fmla="*/ 99971 w 359346"/>
                <a:gd name="connsiteY6" fmla="*/ 571273 h 727103"/>
                <a:gd name="connsiteX7" fmla="*/ 0 w 359346"/>
                <a:gd name="connsiteY7" fmla="*/ 4317 h 727103"/>
                <a:gd name="connsiteX0" fmla="*/ 0 w 359346"/>
                <a:gd name="connsiteY0" fmla="*/ 2982 h 725768"/>
                <a:gd name="connsiteX1" fmla="*/ 204137 w 359346"/>
                <a:gd name="connsiteY1" fmla="*/ 0 h 725768"/>
                <a:gd name="connsiteX2" fmla="*/ 273845 w 359346"/>
                <a:gd name="connsiteY2" fmla="*/ 583232 h 725768"/>
                <a:gd name="connsiteX3" fmla="*/ 359346 w 359346"/>
                <a:gd name="connsiteY3" fmla="*/ 612318 h 725768"/>
                <a:gd name="connsiteX4" fmla="*/ 194306 w 359346"/>
                <a:gd name="connsiteY4" fmla="*/ 725768 h 725768"/>
                <a:gd name="connsiteX5" fmla="*/ 24763 w 359346"/>
                <a:gd name="connsiteY5" fmla="*/ 571917 h 725768"/>
                <a:gd name="connsiteX6" fmla="*/ 99971 w 359346"/>
                <a:gd name="connsiteY6" fmla="*/ 569938 h 725768"/>
                <a:gd name="connsiteX7" fmla="*/ 0 w 359346"/>
                <a:gd name="connsiteY7" fmla="*/ 2982 h 725768"/>
                <a:gd name="connsiteX0" fmla="*/ 0 w 357639"/>
                <a:gd name="connsiteY0" fmla="*/ 2982 h 725768"/>
                <a:gd name="connsiteX1" fmla="*/ 204137 w 357639"/>
                <a:gd name="connsiteY1" fmla="*/ 0 h 725768"/>
                <a:gd name="connsiteX2" fmla="*/ 273845 w 357639"/>
                <a:gd name="connsiteY2" fmla="*/ 583232 h 725768"/>
                <a:gd name="connsiteX3" fmla="*/ 357639 w 357639"/>
                <a:gd name="connsiteY3" fmla="*/ 607662 h 725768"/>
                <a:gd name="connsiteX4" fmla="*/ 194306 w 357639"/>
                <a:gd name="connsiteY4" fmla="*/ 725768 h 725768"/>
                <a:gd name="connsiteX5" fmla="*/ 24763 w 357639"/>
                <a:gd name="connsiteY5" fmla="*/ 571917 h 725768"/>
                <a:gd name="connsiteX6" fmla="*/ 99971 w 357639"/>
                <a:gd name="connsiteY6" fmla="*/ 569938 h 725768"/>
                <a:gd name="connsiteX7" fmla="*/ 0 w 357639"/>
                <a:gd name="connsiteY7" fmla="*/ 2982 h 725768"/>
                <a:gd name="connsiteX0" fmla="*/ 0 w 357639"/>
                <a:gd name="connsiteY0" fmla="*/ 2982 h 725768"/>
                <a:gd name="connsiteX1" fmla="*/ 204137 w 357639"/>
                <a:gd name="connsiteY1" fmla="*/ 0 h 725768"/>
                <a:gd name="connsiteX2" fmla="*/ 266853 w 357639"/>
                <a:gd name="connsiteY2" fmla="*/ 591541 h 725768"/>
                <a:gd name="connsiteX3" fmla="*/ 357639 w 357639"/>
                <a:gd name="connsiteY3" fmla="*/ 607662 h 725768"/>
                <a:gd name="connsiteX4" fmla="*/ 194306 w 357639"/>
                <a:gd name="connsiteY4" fmla="*/ 725768 h 725768"/>
                <a:gd name="connsiteX5" fmla="*/ 24763 w 357639"/>
                <a:gd name="connsiteY5" fmla="*/ 571917 h 725768"/>
                <a:gd name="connsiteX6" fmla="*/ 99971 w 357639"/>
                <a:gd name="connsiteY6" fmla="*/ 569938 h 725768"/>
                <a:gd name="connsiteX7" fmla="*/ 0 w 357639"/>
                <a:gd name="connsiteY7" fmla="*/ 2982 h 725768"/>
                <a:gd name="connsiteX0" fmla="*/ 0 w 353136"/>
                <a:gd name="connsiteY0" fmla="*/ 2982 h 725768"/>
                <a:gd name="connsiteX1" fmla="*/ 204137 w 353136"/>
                <a:gd name="connsiteY1" fmla="*/ 0 h 725768"/>
                <a:gd name="connsiteX2" fmla="*/ 266853 w 353136"/>
                <a:gd name="connsiteY2" fmla="*/ 591541 h 725768"/>
                <a:gd name="connsiteX3" fmla="*/ 353136 w 353136"/>
                <a:gd name="connsiteY3" fmla="*/ 606330 h 725768"/>
                <a:gd name="connsiteX4" fmla="*/ 194306 w 353136"/>
                <a:gd name="connsiteY4" fmla="*/ 725768 h 725768"/>
                <a:gd name="connsiteX5" fmla="*/ 24763 w 353136"/>
                <a:gd name="connsiteY5" fmla="*/ 571917 h 725768"/>
                <a:gd name="connsiteX6" fmla="*/ 99971 w 353136"/>
                <a:gd name="connsiteY6" fmla="*/ 569938 h 725768"/>
                <a:gd name="connsiteX7" fmla="*/ 0 w 353136"/>
                <a:gd name="connsiteY7" fmla="*/ 2982 h 725768"/>
                <a:gd name="connsiteX0" fmla="*/ 0 w 353136"/>
                <a:gd name="connsiteY0" fmla="*/ 2982 h 737458"/>
                <a:gd name="connsiteX1" fmla="*/ 204137 w 353136"/>
                <a:gd name="connsiteY1" fmla="*/ 0 h 737458"/>
                <a:gd name="connsiteX2" fmla="*/ 266853 w 353136"/>
                <a:gd name="connsiteY2" fmla="*/ 591541 h 737458"/>
                <a:gd name="connsiteX3" fmla="*/ 353136 w 353136"/>
                <a:gd name="connsiteY3" fmla="*/ 606330 h 737458"/>
                <a:gd name="connsiteX4" fmla="*/ 166471 w 353136"/>
                <a:gd name="connsiteY4" fmla="*/ 737458 h 737458"/>
                <a:gd name="connsiteX5" fmla="*/ 24763 w 353136"/>
                <a:gd name="connsiteY5" fmla="*/ 571917 h 737458"/>
                <a:gd name="connsiteX6" fmla="*/ 99971 w 353136"/>
                <a:gd name="connsiteY6" fmla="*/ 569938 h 737458"/>
                <a:gd name="connsiteX7" fmla="*/ 0 w 353136"/>
                <a:gd name="connsiteY7" fmla="*/ 2982 h 737458"/>
                <a:gd name="connsiteX0" fmla="*/ 0 w 353136"/>
                <a:gd name="connsiteY0" fmla="*/ 2982 h 735631"/>
                <a:gd name="connsiteX1" fmla="*/ 204137 w 353136"/>
                <a:gd name="connsiteY1" fmla="*/ 0 h 735631"/>
                <a:gd name="connsiteX2" fmla="*/ 266853 w 353136"/>
                <a:gd name="connsiteY2" fmla="*/ 591541 h 735631"/>
                <a:gd name="connsiteX3" fmla="*/ 353136 w 353136"/>
                <a:gd name="connsiteY3" fmla="*/ 606330 h 735631"/>
                <a:gd name="connsiteX4" fmla="*/ 170819 w 353136"/>
                <a:gd name="connsiteY4" fmla="*/ 735631 h 735631"/>
                <a:gd name="connsiteX5" fmla="*/ 24763 w 353136"/>
                <a:gd name="connsiteY5" fmla="*/ 571917 h 735631"/>
                <a:gd name="connsiteX6" fmla="*/ 99971 w 353136"/>
                <a:gd name="connsiteY6" fmla="*/ 569938 h 735631"/>
                <a:gd name="connsiteX7" fmla="*/ 0 w 353136"/>
                <a:gd name="connsiteY7" fmla="*/ 2982 h 735631"/>
                <a:gd name="connsiteX0" fmla="*/ 0 w 353136"/>
                <a:gd name="connsiteY0" fmla="*/ 2982 h 735631"/>
                <a:gd name="connsiteX1" fmla="*/ 204137 w 353136"/>
                <a:gd name="connsiteY1" fmla="*/ 0 h 735631"/>
                <a:gd name="connsiteX2" fmla="*/ 266853 w 353136"/>
                <a:gd name="connsiteY2" fmla="*/ 591541 h 735631"/>
                <a:gd name="connsiteX3" fmla="*/ 353136 w 353136"/>
                <a:gd name="connsiteY3" fmla="*/ 606330 h 735631"/>
                <a:gd name="connsiteX4" fmla="*/ 170819 w 353136"/>
                <a:gd name="connsiteY4" fmla="*/ 735631 h 735631"/>
                <a:gd name="connsiteX5" fmla="*/ 24763 w 353136"/>
                <a:gd name="connsiteY5" fmla="*/ 571917 h 735631"/>
                <a:gd name="connsiteX6" fmla="*/ 94224 w 353136"/>
                <a:gd name="connsiteY6" fmla="*/ 573426 h 735631"/>
                <a:gd name="connsiteX7" fmla="*/ 0 w 353136"/>
                <a:gd name="connsiteY7" fmla="*/ 2982 h 735631"/>
                <a:gd name="connsiteX0" fmla="*/ 0 w 353136"/>
                <a:gd name="connsiteY0" fmla="*/ 2982 h 735631"/>
                <a:gd name="connsiteX1" fmla="*/ 204137 w 353136"/>
                <a:gd name="connsiteY1" fmla="*/ 0 h 735631"/>
                <a:gd name="connsiteX2" fmla="*/ 266853 w 353136"/>
                <a:gd name="connsiteY2" fmla="*/ 591541 h 735631"/>
                <a:gd name="connsiteX3" fmla="*/ 353136 w 353136"/>
                <a:gd name="connsiteY3" fmla="*/ 606330 h 735631"/>
                <a:gd name="connsiteX4" fmla="*/ 170819 w 353136"/>
                <a:gd name="connsiteY4" fmla="*/ 735631 h 735631"/>
                <a:gd name="connsiteX5" fmla="*/ 21811 w 353136"/>
                <a:gd name="connsiteY5" fmla="*/ 572082 h 735631"/>
                <a:gd name="connsiteX6" fmla="*/ 94224 w 353136"/>
                <a:gd name="connsiteY6" fmla="*/ 573426 h 735631"/>
                <a:gd name="connsiteX7" fmla="*/ 0 w 353136"/>
                <a:gd name="connsiteY7" fmla="*/ 2982 h 735631"/>
                <a:gd name="connsiteX0" fmla="*/ 0 w 353136"/>
                <a:gd name="connsiteY0" fmla="*/ 2982 h 735631"/>
                <a:gd name="connsiteX1" fmla="*/ 204137 w 353136"/>
                <a:gd name="connsiteY1" fmla="*/ 0 h 735631"/>
                <a:gd name="connsiteX2" fmla="*/ 266853 w 353136"/>
                <a:gd name="connsiteY2" fmla="*/ 591541 h 735631"/>
                <a:gd name="connsiteX3" fmla="*/ 353136 w 353136"/>
                <a:gd name="connsiteY3" fmla="*/ 606330 h 735631"/>
                <a:gd name="connsiteX4" fmla="*/ 170819 w 353136"/>
                <a:gd name="connsiteY4" fmla="*/ 735631 h 735631"/>
                <a:gd name="connsiteX5" fmla="*/ 21811 w 353136"/>
                <a:gd name="connsiteY5" fmla="*/ 572082 h 735631"/>
                <a:gd name="connsiteX6" fmla="*/ 94224 w 353136"/>
                <a:gd name="connsiteY6" fmla="*/ 573426 h 735631"/>
                <a:gd name="connsiteX7" fmla="*/ 0 w 353136"/>
                <a:gd name="connsiteY7" fmla="*/ 2982 h 735631"/>
                <a:gd name="connsiteX0" fmla="*/ 29959 w 331325"/>
                <a:gd name="connsiteY0" fmla="*/ 0 h 735702"/>
                <a:gd name="connsiteX1" fmla="*/ 182326 w 331325"/>
                <a:gd name="connsiteY1" fmla="*/ 71 h 735702"/>
                <a:gd name="connsiteX2" fmla="*/ 245042 w 331325"/>
                <a:gd name="connsiteY2" fmla="*/ 591612 h 735702"/>
                <a:gd name="connsiteX3" fmla="*/ 331325 w 331325"/>
                <a:gd name="connsiteY3" fmla="*/ 606401 h 735702"/>
                <a:gd name="connsiteX4" fmla="*/ 149008 w 331325"/>
                <a:gd name="connsiteY4" fmla="*/ 735702 h 735702"/>
                <a:gd name="connsiteX5" fmla="*/ 0 w 331325"/>
                <a:gd name="connsiteY5" fmla="*/ 572153 h 735702"/>
                <a:gd name="connsiteX6" fmla="*/ 72413 w 331325"/>
                <a:gd name="connsiteY6" fmla="*/ 573497 h 735702"/>
                <a:gd name="connsiteX7" fmla="*/ 29959 w 331325"/>
                <a:gd name="connsiteY7" fmla="*/ 0 h 735702"/>
                <a:gd name="connsiteX0" fmla="*/ 29959 w 331325"/>
                <a:gd name="connsiteY0" fmla="*/ 0 h 735702"/>
                <a:gd name="connsiteX1" fmla="*/ 182326 w 331325"/>
                <a:gd name="connsiteY1" fmla="*/ 71 h 735702"/>
                <a:gd name="connsiteX2" fmla="*/ 245042 w 331325"/>
                <a:gd name="connsiteY2" fmla="*/ 591612 h 735702"/>
                <a:gd name="connsiteX3" fmla="*/ 331325 w 331325"/>
                <a:gd name="connsiteY3" fmla="*/ 606401 h 735702"/>
                <a:gd name="connsiteX4" fmla="*/ 149008 w 331325"/>
                <a:gd name="connsiteY4" fmla="*/ 735702 h 735702"/>
                <a:gd name="connsiteX5" fmla="*/ 0 w 331325"/>
                <a:gd name="connsiteY5" fmla="*/ 572153 h 735702"/>
                <a:gd name="connsiteX6" fmla="*/ 72413 w 331325"/>
                <a:gd name="connsiteY6" fmla="*/ 573497 h 735702"/>
                <a:gd name="connsiteX7" fmla="*/ 29959 w 331325"/>
                <a:gd name="connsiteY7" fmla="*/ 0 h 735702"/>
                <a:gd name="connsiteX0" fmla="*/ 29959 w 331325"/>
                <a:gd name="connsiteY0" fmla="*/ 0 h 735702"/>
                <a:gd name="connsiteX1" fmla="*/ 209742 w 331325"/>
                <a:gd name="connsiteY1" fmla="*/ 4105 h 735702"/>
                <a:gd name="connsiteX2" fmla="*/ 245042 w 331325"/>
                <a:gd name="connsiteY2" fmla="*/ 591612 h 735702"/>
                <a:gd name="connsiteX3" fmla="*/ 331325 w 331325"/>
                <a:gd name="connsiteY3" fmla="*/ 606401 h 735702"/>
                <a:gd name="connsiteX4" fmla="*/ 149008 w 331325"/>
                <a:gd name="connsiteY4" fmla="*/ 735702 h 735702"/>
                <a:gd name="connsiteX5" fmla="*/ 0 w 331325"/>
                <a:gd name="connsiteY5" fmla="*/ 572153 h 735702"/>
                <a:gd name="connsiteX6" fmla="*/ 72413 w 331325"/>
                <a:gd name="connsiteY6" fmla="*/ 573497 h 735702"/>
                <a:gd name="connsiteX7" fmla="*/ 29959 w 331325"/>
                <a:gd name="connsiteY7" fmla="*/ 0 h 735702"/>
                <a:gd name="connsiteX0" fmla="*/ 29959 w 331325"/>
                <a:gd name="connsiteY0" fmla="*/ 0 h 735702"/>
                <a:gd name="connsiteX1" fmla="*/ 221491 w 331325"/>
                <a:gd name="connsiteY1" fmla="*/ 5832 h 735702"/>
                <a:gd name="connsiteX2" fmla="*/ 245042 w 331325"/>
                <a:gd name="connsiteY2" fmla="*/ 591612 h 735702"/>
                <a:gd name="connsiteX3" fmla="*/ 331325 w 331325"/>
                <a:gd name="connsiteY3" fmla="*/ 606401 h 735702"/>
                <a:gd name="connsiteX4" fmla="*/ 149008 w 331325"/>
                <a:gd name="connsiteY4" fmla="*/ 735702 h 735702"/>
                <a:gd name="connsiteX5" fmla="*/ 0 w 331325"/>
                <a:gd name="connsiteY5" fmla="*/ 572153 h 735702"/>
                <a:gd name="connsiteX6" fmla="*/ 72413 w 331325"/>
                <a:gd name="connsiteY6" fmla="*/ 573497 h 735702"/>
                <a:gd name="connsiteX7" fmla="*/ 29959 w 331325"/>
                <a:gd name="connsiteY7" fmla="*/ 0 h 735702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25713 w 316959"/>
                <a:gd name="connsiteY0" fmla="*/ 0 h 732214"/>
                <a:gd name="connsiteX1" fmla="*/ 207125 w 316959"/>
                <a:gd name="connsiteY1" fmla="*/ 2344 h 732214"/>
                <a:gd name="connsiteX2" fmla="*/ 230676 w 316959"/>
                <a:gd name="connsiteY2" fmla="*/ 588124 h 732214"/>
                <a:gd name="connsiteX3" fmla="*/ 316959 w 316959"/>
                <a:gd name="connsiteY3" fmla="*/ 602913 h 732214"/>
                <a:gd name="connsiteX4" fmla="*/ 134642 w 316959"/>
                <a:gd name="connsiteY4" fmla="*/ 732214 h 732214"/>
                <a:gd name="connsiteX5" fmla="*/ 0 w 316959"/>
                <a:gd name="connsiteY5" fmla="*/ 574780 h 732214"/>
                <a:gd name="connsiteX6" fmla="*/ 58047 w 316959"/>
                <a:gd name="connsiteY6" fmla="*/ 570009 h 732214"/>
                <a:gd name="connsiteX7" fmla="*/ 25713 w 316959"/>
                <a:gd name="connsiteY7" fmla="*/ 0 h 732214"/>
                <a:gd name="connsiteX0" fmla="*/ 25713 w 290868"/>
                <a:gd name="connsiteY0" fmla="*/ 0 h 732214"/>
                <a:gd name="connsiteX1" fmla="*/ 207125 w 290868"/>
                <a:gd name="connsiteY1" fmla="*/ 2344 h 732214"/>
                <a:gd name="connsiteX2" fmla="*/ 230676 w 290868"/>
                <a:gd name="connsiteY2" fmla="*/ 588124 h 732214"/>
                <a:gd name="connsiteX3" fmla="*/ 290868 w 290868"/>
                <a:gd name="connsiteY3" fmla="*/ 613076 h 732214"/>
                <a:gd name="connsiteX4" fmla="*/ 134642 w 290868"/>
                <a:gd name="connsiteY4" fmla="*/ 732214 h 732214"/>
                <a:gd name="connsiteX5" fmla="*/ 0 w 290868"/>
                <a:gd name="connsiteY5" fmla="*/ 574780 h 732214"/>
                <a:gd name="connsiteX6" fmla="*/ 58047 w 290868"/>
                <a:gd name="connsiteY6" fmla="*/ 570009 h 732214"/>
                <a:gd name="connsiteX7" fmla="*/ 25713 w 290868"/>
                <a:gd name="connsiteY7" fmla="*/ 0 h 732214"/>
                <a:gd name="connsiteX0" fmla="*/ 25713 w 290868"/>
                <a:gd name="connsiteY0" fmla="*/ 0 h 732214"/>
                <a:gd name="connsiteX1" fmla="*/ 207125 w 290868"/>
                <a:gd name="connsiteY1" fmla="*/ 2344 h 732214"/>
                <a:gd name="connsiteX2" fmla="*/ 230676 w 290868"/>
                <a:gd name="connsiteY2" fmla="*/ 588124 h 732214"/>
                <a:gd name="connsiteX3" fmla="*/ 290868 w 290868"/>
                <a:gd name="connsiteY3" fmla="*/ 613076 h 732214"/>
                <a:gd name="connsiteX4" fmla="*/ 134642 w 290868"/>
                <a:gd name="connsiteY4" fmla="*/ 732214 h 732214"/>
                <a:gd name="connsiteX5" fmla="*/ 0 w 290868"/>
                <a:gd name="connsiteY5" fmla="*/ 574780 h 732214"/>
                <a:gd name="connsiteX6" fmla="*/ 58712 w 290868"/>
                <a:gd name="connsiteY6" fmla="*/ 580107 h 732214"/>
                <a:gd name="connsiteX7" fmla="*/ 25713 w 290868"/>
                <a:gd name="connsiteY7" fmla="*/ 0 h 732214"/>
                <a:gd name="connsiteX0" fmla="*/ 25713 w 290868"/>
                <a:gd name="connsiteY0" fmla="*/ 0 h 732214"/>
                <a:gd name="connsiteX1" fmla="*/ 207125 w 290868"/>
                <a:gd name="connsiteY1" fmla="*/ 2344 h 732214"/>
                <a:gd name="connsiteX2" fmla="*/ 227763 w 290868"/>
                <a:gd name="connsiteY2" fmla="*/ 605698 h 732214"/>
                <a:gd name="connsiteX3" fmla="*/ 290868 w 290868"/>
                <a:gd name="connsiteY3" fmla="*/ 613076 h 732214"/>
                <a:gd name="connsiteX4" fmla="*/ 134642 w 290868"/>
                <a:gd name="connsiteY4" fmla="*/ 732214 h 732214"/>
                <a:gd name="connsiteX5" fmla="*/ 0 w 290868"/>
                <a:gd name="connsiteY5" fmla="*/ 574780 h 732214"/>
                <a:gd name="connsiteX6" fmla="*/ 58712 w 290868"/>
                <a:gd name="connsiteY6" fmla="*/ 580107 h 732214"/>
                <a:gd name="connsiteX7" fmla="*/ 25713 w 290868"/>
                <a:gd name="connsiteY7" fmla="*/ 0 h 732214"/>
                <a:gd name="connsiteX0" fmla="*/ 27021 w 292176"/>
                <a:gd name="connsiteY0" fmla="*/ 0 h 732214"/>
                <a:gd name="connsiteX1" fmla="*/ 208433 w 292176"/>
                <a:gd name="connsiteY1" fmla="*/ 2344 h 732214"/>
                <a:gd name="connsiteX2" fmla="*/ 229071 w 292176"/>
                <a:gd name="connsiteY2" fmla="*/ 605698 h 732214"/>
                <a:gd name="connsiteX3" fmla="*/ 292176 w 292176"/>
                <a:gd name="connsiteY3" fmla="*/ 613076 h 732214"/>
                <a:gd name="connsiteX4" fmla="*/ 135950 w 292176"/>
                <a:gd name="connsiteY4" fmla="*/ 732214 h 732214"/>
                <a:gd name="connsiteX5" fmla="*/ 0 w 292176"/>
                <a:gd name="connsiteY5" fmla="*/ 572588 h 732214"/>
                <a:gd name="connsiteX6" fmla="*/ 60020 w 292176"/>
                <a:gd name="connsiteY6" fmla="*/ 580107 h 732214"/>
                <a:gd name="connsiteX7" fmla="*/ 27021 w 292176"/>
                <a:gd name="connsiteY7" fmla="*/ 0 h 732214"/>
                <a:gd name="connsiteX0" fmla="*/ 27021 w 292176"/>
                <a:gd name="connsiteY0" fmla="*/ 0 h 741880"/>
                <a:gd name="connsiteX1" fmla="*/ 208433 w 292176"/>
                <a:gd name="connsiteY1" fmla="*/ 2344 h 741880"/>
                <a:gd name="connsiteX2" fmla="*/ 229071 w 292176"/>
                <a:gd name="connsiteY2" fmla="*/ 605698 h 741880"/>
                <a:gd name="connsiteX3" fmla="*/ 292176 w 292176"/>
                <a:gd name="connsiteY3" fmla="*/ 613076 h 741880"/>
                <a:gd name="connsiteX4" fmla="*/ 133679 w 292176"/>
                <a:gd name="connsiteY4" fmla="*/ 741880 h 741880"/>
                <a:gd name="connsiteX5" fmla="*/ 0 w 292176"/>
                <a:gd name="connsiteY5" fmla="*/ 572588 h 741880"/>
                <a:gd name="connsiteX6" fmla="*/ 60020 w 292176"/>
                <a:gd name="connsiteY6" fmla="*/ 580107 h 741880"/>
                <a:gd name="connsiteX7" fmla="*/ 27021 w 292176"/>
                <a:gd name="connsiteY7" fmla="*/ 0 h 741880"/>
                <a:gd name="connsiteX0" fmla="*/ 27021 w 292176"/>
                <a:gd name="connsiteY0" fmla="*/ 0 h 741880"/>
                <a:gd name="connsiteX1" fmla="*/ 208433 w 292176"/>
                <a:gd name="connsiteY1" fmla="*/ 2344 h 741880"/>
                <a:gd name="connsiteX2" fmla="*/ 229713 w 292176"/>
                <a:gd name="connsiteY2" fmla="*/ 597792 h 741880"/>
                <a:gd name="connsiteX3" fmla="*/ 292176 w 292176"/>
                <a:gd name="connsiteY3" fmla="*/ 613076 h 741880"/>
                <a:gd name="connsiteX4" fmla="*/ 133679 w 292176"/>
                <a:gd name="connsiteY4" fmla="*/ 741880 h 741880"/>
                <a:gd name="connsiteX5" fmla="*/ 0 w 292176"/>
                <a:gd name="connsiteY5" fmla="*/ 572588 h 741880"/>
                <a:gd name="connsiteX6" fmla="*/ 60020 w 292176"/>
                <a:gd name="connsiteY6" fmla="*/ 580107 h 741880"/>
                <a:gd name="connsiteX7" fmla="*/ 27021 w 292176"/>
                <a:gd name="connsiteY7" fmla="*/ 0 h 741880"/>
                <a:gd name="connsiteX0" fmla="*/ 27021 w 292176"/>
                <a:gd name="connsiteY0" fmla="*/ 0 h 741880"/>
                <a:gd name="connsiteX1" fmla="*/ 219860 w 292176"/>
                <a:gd name="connsiteY1" fmla="*/ 8025 h 741880"/>
                <a:gd name="connsiteX2" fmla="*/ 229713 w 292176"/>
                <a:gd name="connsiteY2" fmla="*/ 597792 h 741880"/>
                <a:gd name="connsiteX3" fmla="*/ 292176 w 292176"/>
                <a:gd name="connsiteY3" fmla="*/ 613076 h 741880"/>
                <a:gd name="connsiteX4" fmla="*/ 133679 w 292176"/>
                <a:gd name="connsiteY4" fmla="*/ 741880 h 741880"/>
                <a:gd name="connsiteX5" fmla="*/ 0 w 292176"/>
                <a:gd name="connsiteY5" fmla="*/ 572588 h 741880"/>
                <a:gd name="connsiteX6" fmla="*/ 60020 w 292176"/>
                <a:gd name="connsiteY6" fmla="*/ 580107 h 741880"/>
                <a:gd name="connsiteX7" fmla="*/ 27021 w 292176"/>
                <a:gd name="connsiteY7" fmla="*/ 0 h 7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176" h="741880">
                  <a:moveTo>
                    <a:pt x="27021" y="0"/>
                  </a:moveTo>
                  <a:lnTo>
                    <a:pt x="219860" y="8025"/>
                  </a:lnTo>
                  <a:cubicBezTo>
                    <a:pt x="280882" y="249963"/>
                    <a:pt x="251380" y="518322"/>
                    <a:pt x="229713" y="597792"/>
                  </a:cubicBezTo>
                  <a:lnTo>
                    <a:pt x="292176" y="613076"/>
                  </a:lnTo>
                  <a:lnTo>
                    <a:pt x="133679" y="741880"/>
                  </a:lnTo>
                  <a:lnTo>
                    <a:pt x="0" y="572588"/>
                  </a:lnTo>
                  <a:lnTo>
                    <a:pt x="60020" y="580107"/>
                  </a:lnTo>
                  <a:cubicBezTo>
                    <a:pt x="75298" y="517510"/>
                    <a:pt x="120241" y="243172"/>
                    <a:pt x="27021" y="0"/>
                  </a:cubicBezTo>
                  <a:close/>
                </a:path>
              </a:pathLst>
            </a:custGeom>
            <a:gradFill>
              <a:gsLst>
                <a:gs pos="19000">
                  <a:srgbClr val="FFFFFF">
                    <a:alpha val="56000"/>
                  </a:srgbClr>
                </a:gs>
                <a:gs pos="35000">
                  <a:srgbClr val="FFFFFF"/>
                </a:gs>
                <a:gs pos="0">
                  <a:srgbClr val="FFFFFF">
                    <a:alpha val="0"/>
                  </a:srgbClr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srgbClr val="000000"/>
                </a:solidFill>
                <a:latin typeface="Open Sans"/>
                <a:cs typeface="Open Sans"/>
              </a:endParaRPr>
            </a:p>
          </p:txBody>
        </p:sp>
        <p:sp>
          <p:nvSpPr>
            <p:cNvPr id="20" name="Curved Down Arrow 32"/>
            <p:cNvSpPr/>
            <p:nvPr>
              <p:custDataLst>
                <p:tags r:id="rId12"/>
              </p:custDataLst>
            </p:nvPr>
          </p:nvSpPr>
          <p:spPr>
            <a:xfrm rot="7725724">
              <a:off x="5168450" y="4147871"/>
              <a:ext cx="332993" cy="628284"/>
            </a:xfrm>
            <a:custGeom>
              <a:avLst/>
              <a:gdLst>
                <a:gd name="connsiteX0" fmla="*/ 0 w 389067"/>
                <a:gd name="connsiteY0" fmla="*/ 14695 h 736470"/>
                <a:gd name="connsiteX1" fmla="*/ 199235 w 389067"/>
                <a:gd name="connsiteY1" fmla="*/ 0 h 736470"/>
                <a:gd name="connsiteX2" fmla="*/ 305209 w 389067"/>
                <a:gd name="connsiteY2" fmla="*/ 580640 h 736470"/>
                <a:gd name="connsiteX3" fmla="*/ 389067 w 389067"/>
                <a:gd name="connsiteY3" fmla="*/ 576035 h 736470"/>
                <a:gd name="connsiteX4" fmla="*/ 214483 w 389067"/>
                <a:gd name="connsiteY4" fmla="*/ 736470 h 736470"/>
                <a:gd name="connsiteX5" fmla="*/ 31683 w 389067"/>
                <a:gd name="connsiteY5" fmla="*/ 593917 h 736470"/>
                <a:gd name="connsiteX6" fmla="*/ 120148 w 389067"/>
                <a:gd name="connsiteY6" fmla="*/ 580640 h 736470"/>
                <a:gd name="connsiteX7" fmla="*/ 0 w 389067"/>
                <a:gd name="connsiteY7" fmla="*/ 14695 h 736470"/>
                <a:gd name="connsiteX0" fmla="*/ 0 w 389067"/>
                <a:gd name="connsiteY0" fmla="*/ 19958 h 741733"/>
                <a:gd name="connsiteX1" fmla="*/ 207380 w 389067"/>
                <a:gd name="connsiteY1" fmla="*/ 0 h 741733"/>
                <a:gd name="connsiteX2" fmla="*/ 305209 w 389067"/>
                <a:gd name="connsiteY2" fmla="*/ 585903 h 741733"/>
                <a:gd name="connsiteX3" fmla="*/ 389067 w 389067"/>
                <a:gd name="connsiteY3" fmla="*/ 581298 h 741733"/>
                <a:gd name="connsiteX4" fmla="*/ 214483 w 389067"/>
                <a:gd name="connsiteY4" fmla="*/ 741733 h 741733"/>
                <a:gd name="connsiteX5" fmla="*/ 31683 w 389067"/>
                <a:gd name="connsiteY5" fmla="*/ 599180 h 741733"/>
                <a:gd name="connsiteX6" fmla="*/ 120148 w 389067"/>
                <a:gd name="connsiteY6" fmla="*/ 585903 h 741733"/>
                <a:gd name="connsiteX7" fmla="*/ 0 w 389067"/>
                <a:gd name="connsiteY7" fmla="*/ 19958 h 741733"/>
                <a:gd name="connsiteX0" fmla="*/ 0 w 368890"/>
                <a:gd name="connsiteY0" fmla="*/ 18947 h 741733"/>
                <a:gd name="connsiteX1" fmla="*/ 187203 w 368890"/>
                <a:gd name="connsiteY1" fmla="*/ 0 h 741733"/>
                <a:gd name="connsiteX2" fmla="*/ 285032 w 368890"/>
                <a:gd name="connsiteY2" fmla="*/ 585903 h 741733"/>
                <a:gd name="connsiteX3" fmla="*/ 368890 w 368890"/>
                <a:gd name="connsiteY3" fmla="*/ 581298 h 741733"/>
                <a:gd name="connsiteX4" fmla="*/ 194306 w 368890"/>
                <a:gd name="connsiteY4" fmla="*/ 741733 h 741733"/>
                <a:gd name="connsiteX5" fmla="*/ 11506 w 368890"/>
                <a:gd name="connsiteY5" fmla="*/ 599180 h 741733"/>
                <a:gd name="connsiteX6" fmla="*/ 99971 w 368890"/>
                <a:gd name="connsiteY6" fmla="*/ 585903 h 741733"/>
                <a:gd name="connsiteX7" fmla="*/ 0 w 368890"/>
                <a:gd name="connsiteY7" fmla="*/ 18947 h 741733"/>
                <a:gd name="connsiteX0" fmla="*/ 0 w 368890"/>
                <a:gd name="connsiteY0" fmla="*/ 4317 h 727103"/>
                <a:gd name="connsiteX1" fmla="*/ 190264 w 368890"/>
                <a:gd name="connsiteY1" fmla="*/ 0 h 727103"/>
                <a:gd name="connsiteX2" fmla="*/ 285032 w 368890"/>
                <a:gd name="connsiteY2" fmla="*/ 571273 h 727103"/>
                <a:gd name="connsiteX3" fmla="*/ 368890 w 368890"/>
                <a:gd name="connsiteY3" fmla="*/ 566668 h 727103"/>
                <a:gd name="connsiteX4" fmla="*/ 194306 w 368890"/>
                <a:gd name="connsiteY4" fmla="*/ 727103 h 727103"/>
                <a:gd name="connsiteX5" fmla="*/ 11506 w 368890"/>
                <a:gd name="connsiteY5" fmla="*/ 584550 h 727103"/>
                <a:gd name="connsiteX6" fmla="*/ 99971 w 368890"/>
                <a:gd name="connsiteY6" fmla="*/ 571273 h 727103"/>
                <a:gd name="connsiteX7" fmla="*/ 0 w 368890"/>
                <a:gd name="connsiteY7" fmla="*/ 4317 h 727103"/>
                <a:gd name="connsiteX0" fmla="*/ 0 w 368890"/>
                <a:gd name="connsiteY0" fmla="*/ 4317 h 727103"/>
                <a:gd name="connsiteX1" fmla="*/ 190264 w 368890"/>
                <a:gd name="connsiteY1" fmla="*/ 0 h 727103"/>
                <a:gd name="connsiteX2" fmla="*/ 285032 w 368890"/>
                <a:gd name="connsiteY2" fmla="*/ 571273 h 727103"/>
                <a:gd name="connsiteX3" fmla="*/ 368890 w 368890"/>
                <a:gd name="connsiteY3" fmla="*/ 566668 h 727103"/>
                <a:gd name="connsiteX4" fmla="*/ 194306 w 368890"/>
                <a:gd name="connsiteY4" fmla="*/ 727103 h 727103"/>
                <a:gd name="connsiteX5" fmla="*/ 11506 w 368890"/>
                <a:gd name="connsiteY5" fmla="*/ 584550 h 727103"/>
                <a:gd name="connsiteX6" fmla="*/ 99971 w 368890"/>
                <a:gd name="connsiteY6" fmla="*/ 571273 h 727103"/>
                <a:gd name="connsiteX7" fmla="*/ 0 w 368890"/>
                <a:gd name="connsiteY7" fmla="*/ 4317 h 727103"/>
                <a:gd name="connsiteX0" fmla="*/ 0 w 368890"/>
                <a:gd name="connsiteY0" fmla="*/ 4317 h 727103"/>
                <a:gd name="connsiteX1" fmla="*/ 190264 w 368890"/>
                <a:gd name="connsiteY1" fmla="*/ 0 h 727103"/>
                <a:gd name="connsiteX2" fmla="*/ 285032 w 368890"/>
                <a:gd name="connsiteY2" fmla="*/ 571273 h 727103"/>
                <a:gd name="connsiteX3" fmla="*/ 368890 w 368890"/>
                <a:gd name="connsiteY3" fmla="*/ 566668 h 727103"/>
                <a:gd name="connsiteX4" fmla="*/ 194306 w 368890"/>
                <a:gd name="connsiteY4" fmla="*/ 727103 h 727103"/>
                <a:gd name="connsiteX5" fmla="*/ 10684 w 368890"/>
                <a:gd name="connsiteY5" fmla="*/ 567704 h 727103"/>
                <a:gd name="connsiteX6" fmla="*/ 99971 w 368890"/>
                <a:gd name="connsiteY6" fmla="*/ 571273 h 727103"/>
                <a:gd name="connsiteX7" fmla="*/ 0 w 368890"/>
                <a:gd name="connsiteY7" fmla="*/ 4317 h 727103"/>
                <a:gd name="connsiteX0" fmla="*/ 0 w 363912"/>
                <a:gd name="connsiteY0" fmla="*/ 4317 h 727103"/>
                <a:gd name="connsiteX1" fmla="*/ 190264 w 363912"/>
                <a:gd name="connsiteY1" fmla="*/ 0 h 727103"/>
                <a:gd name="connsiteX2" fmla="*/ 285032 w 363912"/>
                <a:gd name="connsiteY2" fmla="*/ 571273 h 727103"/>
                <a:gd name="connsiteX3" fmla="*/ 363912 w 363912"/>
                <a:gd name="connsiteY3" fmla="*/ 585949 h 727103"/>
                <a:gd name="connsiteX4" fmla="*/ 194306 w 363912"/>
                <a:gd name="connsiteY4" fmla="*/ 727103 h 727103"/>
                <a:gd name="connsiteX5" fmla="*/ 10684 w 363912"/>
                <a:gd name="connsiteY5" fmla="*/ 567704 h 727103"/>
                <a:gd name="connsiteX6" fmla="*/ 99971 w 363912"/>
                <a:gd name="connsiteY6" fmla="*/ 571273 h 727103"/>
                <a:gd name="connsiteX7" fmla="*/ 0 w 363912"/>
                <a:gd name="connsiteY7" fmla="*/ 4317 h 727103"/>
                <a:gd name="connsiteX0" fmla="*/ 0 w 358113"/>
                <a:gd name="connsiteY0" fmla="*/ 4317 h 727103"/>
                <a:gd name="connsiteX1" fmla="*/ 190264 w 358113"/>
                <a:gd name="connsiteY1" fmla="*/ 0 h 727103"/>
                <a:gd name="connsiteX2" fmla="*/ 285032 w 358113"/>
                <a:gd name="connsiteY2" fmla="*/ 571273 h 727103"/>
                <a:gd name="connsiteX3" fmla="*/ 358113 w 358113"/>
                <a:gd name="connsiteY3" fmla="*/ 588385 h 727103"/>
                <a:gd name="connsiteX4" fmla="*/ 194306 w 358113"/>
                <a:gd name="connsiteY4" fmla="*/ 727103 h 727103"/>
                <a:gd name="connsiteX5" fmla="*/ 10684 w 358113"/>
                <a:gd name="connsiteY5" fmla="*/ 567704 h 727103"/>
                <a:gd name="connsiteX6" fmla="*/ 99971 w 358113"/>
                <a:gd name="connsiteY6" fmla="*/ 571273 h 727103"/>
                <a:gd name="connsiteX7" fmla="*/ 0 w 358113"/>
                <a:gd name="connsiteY7" fmla="*/ 4317 h 727103"/>
                <a:gd name="connsiteX0" fmla="*/ 0 w 358113"/>
                <a:gd name="connsiteY0" fmla="*/ 4317 h 727103"/>
                <a:gd name="connsiteX1" fmla="*/ 190264 w 358113"/>
                <a:gd name="connsiteY1" fmla="*/ 0 h 727103"/>
                <a:gd name="connsiteX2" fmla="*/ 273845 w 358113"/>
                <a:gd name="connsiteY2" fmla="*/ 584567 h 727103"/>
                <a:gd name="connsiteX3" fmla="*/ 358113 w 358113"/>
                <a:gd name="connsiteY3" fmla="*/ 588385 h 727103"/>
                <a:gd name="connsiteX4" fmla="*/ 194306 w 358113"/>
                <a:gd name="connsiteY4" fmla="*/ 727103 h 727103"/>
                <a:gd name="connsiteX5" fmla="*/ 10684 w 358113"/>
                <a:gd name="connsiteY5" fmla="*/ 567704 h 727103"/>
                <a:gd name="connsiteX6" fmla="*/ 99971 w 358113"/>
                <a:gd name="connsiteY6" fmla="*/ 571273 h 727103"/>
                <a:gd name="connsiteX7" fmla="*/ 0 w 358113"/>
                <a:gd name="connsiteY7" fmla="*/ 4317 h 727103"/>
                <a:gd name="connsiteX0" fmla="*/ 0 w 362869"/>
                <a:gd name="connsiteY0" fmla="*/ 4317 h 727103"/>
                <a:gd name="connsiteX1" fmla="*/ 190264 w 362869"/>
                <a:gd name="connsiteY1" fmla="*/ 0 h 727103"/>
                <a:gd name="connsiteX2" fmla="*/ 273845 w 362869"/>
                <a:gd name="connsiteY2" fmla="*/ 584567 h 727103"/>
                <a:gd name="connsiteX3" fmla="*/ 362869 w 362869"/>
                <a:gd name="connsiteY3" fmla="*/ 605011 h 727103"/>
                <a:gd name="connsiteX4" fmla="*/ 194306 w 362869"/>
                <a:gd name="connsiteY4" fmla="*/ 727103 h 727103"/>
                <a:gd name="connsiteX5" fmla="*/ 10684 w 362869"/>
                <a:gd name="connsiteY5" fmla="*/ 567704 h 727103"/>
                <a:gd name="connsiteX6" fmla="*/ 99971 w 362869"/>
                <a:gd name="connsiteY6" fmla="*/ 571273 h 727103"/>
                <a:gd name="connsiteX7" fmla="*/ 0 w 362869"/>
                <a:gd name="connsiteY7" fmla="*/ 4317 h 727103"/>
                <a:gd name="connsiteX0" fmla="*/ 0 w 362869"/>
                <a:gd name="connsiteY0" fmla="*/ 4317 h 727103"/>
                <a:gd name="connsiteX1" fmla="*/ 190264 w 362869"/>
                <a:gd name="connsiteY1" fmla="*/ 0 h 727103"/>
                <a:gd name="connsiteX2" fmla="*/ 273845 w 362869"/>
                <a:gd name="connsiteY2" fmla="*/ 584567 h 727103"/>
                <a:gd name="connsiteX3" fmla="*/ 362869 w 362869"/>
                <a:gd name="connsiteY3" fmla="*/ 605011 h 727103"/>
                <a:gd name="connsiteX4" fmla="*/ 194306 w 362869"/>
                <a:gd name="connsiteY4" fmla="*/ 727103 h 727103"/>
                <a:gd name="connsiteX5" fmla="*/ 22077 w 362869"/>
                <a:gd name="connsiteY5" fmla="*/ 558622 h 727103"/>
                <a:gd name="connsiteX6" fmla="*/ 99971 w 362869"/>
                <a:gd name="connsiteY6" fmla="*/ 571273 h 727103"/>
                <a:gd name="connsiteX7" fmla="*/ 0 w 362869"/>
                <a:gd name="connsiteY7" fmla="*/ 4317 h 727103"/>
                <a:gd name="connsiteX0" fmla="*/ 0 w 362869"/>
                <a:gd name="connsiteY0" fmla="*/ 4317 h 727103"/>
                <a:gd name="connsiteX1" fmla="*/ 190264 w 362869"/>
                <a:gd name="connsiteY1" fmla="*/ 0 h 727103"/>
                <a:gd name="connsiteX2" fmla="*/ 273845 w 362869"/>
                <a:gd name="connsiteY2" fmla="*/ 584567 h 727103"/>
                <a:gd name="connsiteX3" fmla="*/ 362869 w 362869"/>
                <a:gd name="connsiteY3" fmla="*/ 605011 h 727103"/>
                <a:gd name="connsiteX4" fmla="*/ 194306 w 362869"/>
                <a:gd name="connsiteY4" fmla="*/ 727103 h 727103"/>
                <a:gd name="connsiteX5" fmla="*/ 24763 w 362869"/>
                <a:gd name="connsiteY5" fmla="*/ 573252 h 727103"/>
                <a:gd name="connsiteX6" fmla="*/ 99971 w 362869"/>
                <a:gd name="connsiteY6" fmla="*/ 571273 h 727103"/>
                <a:gd name="connsiteX7" fmla="*/ 0 w 362869"/>
                <a:gd name="connsiteY7" fmla="*/ 4317 h 727103"/>
                <a:gd name="connsiteX0" fmla="*/ 0 w 359346"/>
                <a:gd name="connsiteY0" fmla="*/ 4317 h 727103"/>
                <a:gd name="connsiteX1" fmla="*/ 190264 w 359346"/>
                <a:gd name="connsiteY1" fmla="*/ 0 h 727103"/>
                <a:gd name="connsiteX2" fmla="*/ 273845 w 359346"/>
                <a:gd name="connsiteY2" fmla="*/ 584567 h 727103"/>
                <a:gd name="connsiteX3" fmla="*/ 359346 w 359346"/>
                <a:gd name="connsiteY3" fmla="*/ 613653 h 727103"/>
                <a:gd name="connsiteX4" fmla="*/ 194306 w 359346"/>
                <a:gd name="connsiteY4" fmla="*/ 727103 h 727103"/>
                <a:gd name="connsiteX5" fmla="*/ 24763 w 359346"/>
                <a:gd name="connsiteY5" fmla="*/ 573252 h 727103"/>
                <a:gd name="connsiteX6" fmla="*/ 99971 w 359346"/>
                <a:gd name="connsiteY6" fmla="*/ 571273 h 727103"/>
                <a:gd name="connsiteX7" fmla="*/ 0 w 359346"/>
                <a:gd name="connsiteY7" fmla="*/ 4317 h 727103"/>
                <a:gd name="connsiteX0" fmla="*/ 0 w 359346"/>
                <a:gd name="connsiteY0" fmla="*/ 2982 h 725768"/>
                <a:gd name="connsiteX1" fmla="*/ 204137 w 359346"/>
                <a:gd name="connsiteY1" fmla="*/ 0 h 725768"/>
                <a:gd name="connsiteX2" fmla="*/ 273845 w 359346"/>
                <a:gd name="connsiteY2" fmla="*/ 583232 h 725768"/>
                <a:gd name="connsiteX3" fmla="*/ 359346 w 359346"/>
                <a:gd name="connsiteY3" fmla="*/ 612318 h 725768"/>
                <a:gd name="connsiteX4" fmla="*/ 194306 w 359346"/>
                <a:gd name="connsiteY4" fmla="*/ 725768 h 725768"/>
                <a:gd name="connsiteX5" fmla="*/ 24763 w 359346"/>
                <a:gd name="connsiteY5" fmla="*/ 571917 h 725768"/>
                <a:gd name="connsiteX6" fmla="*/ 99971 w 359346"/>
                <a:gd name="connsiteY6" fmla="*/ 569938 h 725768"/>
                <a:gd name="connsiteX7" fmla="*/ 0 w 359346"/>
                <a:gd name="connsiteY7" fmla="*/ 2982 h 725768"/>
                <a:gd name="connsiteX0" fmla="*/ 0 w 357639"/>
                <a:gd name="connsiteY0" fmla="*/ 2982 h 725768"/>
                <a:gd name="connsiteX1" fmla="*/ 204137 w 357639"/>
                <a:gd name="connsiteY1" fmla="*/ 0 h 725768"/>
                <a:gd name="connsiteX2" fmla="*/ 273845 w 357639"/>
                <a:gd name="connsiteY2" fmla="*/ 583232 h 725768"/>
                <a:gd name="connsiteX3" fmla="*/ 357639 w 357639"/>
                <a:gd name="connsiteY3" fmla="*/ 607662 h 725768"/>
                <a:gd name="connsiteX4" fmla="*/ 194306 w 357639"/>
                <a:gd name="connsiteY4" fmla="*/ 725768 h 725768"/>
                <a:gd name="connsiteX5" fmla="*/ 24763 w 357639"/>
                <a:gd name="connsiteY5" fmla="*/ 571917 h 725768"/>
                <a:gd name="connsiteX6" fmla="*/ 99971 w 357639"/>
                <a:gd name="connsiteY6" fmla="*/ 569938 h 725768"/>
                <a:gd name="connsiteX7" fmla="*/ 0 w 357639"/>
                <a:gd name="connsiteY7" fmla="*/ 2982 h 725768"/>
                <a:gd name="connsiteX0" fmla="*/ 0 w 357639"/>
                <a:gd name="connsiteY0" fmla="*/ 2982 h 725768"/>
                <a:gd name="connsiteX1" fmla="*/ 204137 w 357639"/>
                <a:gd name="connsiteY1" fmla="*/ 0 h 725768"/>
                <a:gd name="connsiteX2" fmla="*/ 266853 w 357639"/>
                <a:gd name="connsiteY2" fmla="*/ 591541 h 725768"/>
                <a:gd name="connsiteX3" fmla="*/ 357639 w 357639"/>
                <a:gd name="connsiteY3" fmla="*/ 607662 h 725768"/>
                <a:gd name="connsiteX4" fmla="*/ 194306 w 357639"/>
                <a:gd name="connsiteY4" fmla="*/ 725768 h 725768"/>
                <a:gd name="connsiteX5" fmla="*/ 24763 w 357639"/>
                <a:gd name="connsiteY5" fmla="*/ 571917 h 725768"/>
                <a:gd name="connsiteX6" fmla="*/ 99971 w 357639"/>
                <a:gd name="connsiteY6" fmla="*/ 569938 h 725768"/>
                <a:gd name="connsiteX7" fmla="*/ 0 w 357639"/>
                <a:gd name="connsiteY7" fmla="*/ 2982 h 725768"/>
                <a:gd name="connsiteX0" fmla="*/ 0 w 353136"/>
                <a:gd name="connsiteY0" fmla="*/ 2982 h 725768"/>
                <a:gd name="connsiteX1" fmla="*/ 204137 w 353136"/>
                <a:gd name="connsiteY1" fmla="*/ 0 h 725768"/>
                <a:gd name="connsiteX2" fmla="*/ 266853 w 353136"/>
                <a:gd name="connsiteY2" fmla="*/ 591541 h 725768"/>
                <a:gd name="connsiteX3" fmla="*/ 353136 w 353136"/>
                <a:gd name="connsiteY3" fmla="*/ 606330 h 725768"/>
                <a:gd name="connsiteX4" fmla="*/ 194306 w 353136"/>
                <a:gd name="connsiteY4" fmla="*/ 725768 h 725768"/>
                <a:gd name="connsiteX5" fmla="*/ 24763 w 353136"/>
                <a:gd name="connsiteY5" fmla="*/ 571917 h 725768"/>
                <a:gd name="connsiteX6" fmla="*/ 99971 w 353136"/>
                <a:gd name="connsiteY6" fmla="*/ 569938 h 725768"/>
                <a:gd name="connsiteX7" fmla="*/ 0 w 353136"/>
                <a:gd name="connsiteY7" fmla="*/ 2982 h 725768"/>
                <a:gd name="connsiteX0" fmla="*/ 0 w 353136"/>
                <a:gd name="connsiteY0" fmla="*/ 2982 h 737458"/>
                <a:gd name="connsiteX1" fmla="*/ 204137 w 353136"/>
                <a:gd name="connsiteY1" fmla="*/ 0 h 737458"/>
                <a:gd name="connsiteX2" fmla="*/ 266853 w 353136"/>
                <a:gd name="connsiteY2" fmla="*/ 591541 h 737458"/>
                <a:gd name="connsiteX3" fmla="*/ 353136 w 353136"/>
                <a:gd name="connsiteY3" fmla="*/ 606330 h 737458"/>
                <a:gd name="connsiteX4" fmla="*/ 166471 w 353136"/>
                <a:gd name="connsiteY4" fmla="*/ 737458 h 737458"/>
                <a:gd name="connsiteX5" fmla="*/ 24763 w 353136"/>
                <a:gd name="connsiteY5" fmla="*/ 571917 h 737458"/>
                <a:gd name="connsiteX6" fmla="*/ 99971 w 353136"/>
                <a:gd name="connsiteY6" fmla="*/ 569938 h 737458"/>
                <a:gd name="connsiteX7" fmla="*/ 0 w 353136"/>
                <a:gd name="connsiteY7" fmla="*/ 2982 h 737458"/>
                <a:gd name="connsiteX0" fmla="*/ 0 w 353136"/>
                <a:gd name="connsiteY0" fmla="*/ 2982 h 735631"/>
                <a:gd name="connsiteX1" fmla="*/ 204137 w 353136"/>
                <a:gd name="connsiteY1" fmla="*/ 0 h 735631"/>
                <a:gd name="connsiteX2" fmla="*/ 266853 w 353136"/>
                <a:gd name="connsiteY2" fmla="*/ 591541 h 735631"/>
                <a:gd name="connsiteX3" fmla="*/ 353136 w 353136"/>
                <a:gd name="connsiteY3" fmla="*/ 606330 h 735631"/>
                <a:gd name="connsiteX4" fmla="*/ 170819 w 353136"/>
                <a:gd name="connsiteY4" fmla="*/ 735631 h 735631"/>
                <a:gd name="connsiteX5" fmla="*/ 24763 w 353136"/>
                <a:gd name="connsiteY5" fmla="*/ 571917 h 735631"/>
                <a:gd name="connsiteX6" fmla="*/ 99971 w 353136"/>
                <a:gd name="connsiteY6" fmla="*/ 569938 h 735631"/>
                <a:gd name="connsiteX7" fmla="*/ 0 w 353136"/>
                <a:gd name="connsiteY7" fmla="*/ 2982 h 735631"/>
                <a:gd name="connsiteX0" fmla="*/ 0 w 353136"/>
                <a:gd name="connsiteY0" fmla="*/ 2982 h 735631"/>
                <a:gd name="connsiteX1" fmla="*/ 204137 w 353136"/>
                <a:gd name="connsiteY1" fmla="*/ 0 h 735631"/>
                <a:gd name="connsiteX2" fmla="*/ 266853 w 353136"/>
                <a:gd name="connsiteY2" fmla="*/ 591541 h 735631"/>
                <a:gd name="connsiteX3" fmla="*/ 353136 w 353136"/>
                <a:gd name="connsiteY3" fmla="*/ 606330 h 735631"/>
                <a:gd name="connsiteX4" fmla="*/ 170819 w 353136"/>
                <a:gd name="connsiteY4" fmla="*/ 735631 h 735631"/>
                <a:gd name="connsiteX5" fmla="*/ 24763 w 353136"/>
                <a:gd name="connsiteY5" fmla="*/ 571917 h 735631"/>
                <a:gd name="connsiteX6" fmla="*/ 94224 w 353136"/>
                <a:gd name="connsiteY6" fmla="*/ 573426 h 735631"/>
                <a:gd name="connsiteX7" fmla="*/ 0 w 353136"/>
                <a:gd name="connsiteY7" fmla="*/ 2982 h 735631"/>
                <a:gd name="connsiteX0" fmla="*/ 0 w 353136"/>
                <a:gd name="connsiteY0" fmla="*/ 2982 h 735631"/>
                <a:gd name="connsiteX1" fmla="*/ 204137 w 353136"/>
                <a:gd name="connsiteY1" fmla="*/ 0 h 735631"/>
                <a:gd name="connsiteX2" fmla="*/ 266853 w 353136"/>
                <a:gd name="connsiteY2" fmla="*/ 591541 h 735631"/>
                <a:gd name="connsiteX3" fmla="*/ 353136 w 353136"/>
                <a:gd name="connsiteY3" fmla="*/ 606330 h 735631"/>
                <a:gd name="connsiteX4" fmla="*/ 170819 w 353136"/>
                <a:gd name="connsiteY4" fmla="*/ 735631 h 735631"/>
                <a:gd name="connsiteX5" fmla="*/ 21811 w 353136"/>
                <a:gd name="connsiteY5" fmla="*/ 572082 h 735631"/>
                <a:gd name="connsiteX6" fmla="*/ 94224 w 353136"/>
                <a:gd name="connsiteY6" fmla="*/ 573426 h 735631"/>
                <a:gd name="connsiteX7" fmla="*/ 0 w 353136"/>
                <a:gd name="connsiteY7" fmla="*/ 2982 h 735631"/>
                <a:gd name="connsiteX0" fmla="*/ 0 w 353136"/>
                <a:gd name="connsiteY0" fmla="*/ 2982 h 735631"/>
                <a:gd name="connsiteX1" fmla="*/ 204137 w 353136"/>
                <a:gd name="connsiteY1" fmla="*/ 0 h 735631"/>
                <a:gd name="connsiteX2" fmla="*/ 266853 w 353136"/>
                <a:gd name="connsiteY2" fmla="*/ 591541 h 735631"/>
                <a:gd name="connsiteX3" fmla="*/ 353136 w 353136"/>
                <a:gd name="connsiteY3" fmla="*/ 606330 h 735631"/>
                <a:gd name="connsiteX4" fmla="*/ 170819 w 353136"/>
                <a:gd name="connsiteY4" fmla="*/ 735631 h 735631"/>
                <a:gd name="connsiteX5" fmla="*/ 21811 w 353136"/>
                <a:gd name="connsiteY5" fmla="*/ 572082 h 735631"/>
                <a:gd name="connsiteX6" fmla="*/ 94224 w 353136"/>
                <a:gd name="connsiteY6" fmla="*/ 573426 h 735631"/>
                <a:gd name="connsiteX7" fmla="*/ 0 w 353136"/>
                <a:gd name="connsiteY7" fmla="*/ 2982 h 735631"/>
                <a:gd name="connsiteX0" fmla="*/ 29959 w 331325"/>
                <a:gd name="connsiteY0" fmla="*/ 0 h 735702"/>
                <a:gd name="connsiteX1" fmla="*/ 182326 w 331325"/>
                <a:gd name="connsiteY1" fmla="*/ 71 h 735702"/>
                <a:gd name="connsiteX2" fmla="*/ 245042 w 331325"/>
                <a:gd name="connsiteY2" fmla="*/ 591612 h 735702"/>
                <a:gd name="connsiteX3" fmla="*/ 331325 w 331325"/>
                <a:gd name="connsiteY3" fmla="*/ 606401 h 735702"/>
                <a:gd name="connsiteX4" fmla="*/ 149008 w 331325"/>
                <a:gd name="connsiteY4" fmla="*/ 735702 h 735702"/>
                <a:gd name="connsiteX5" fmla="*/ 0 w 331325"/>
                <a:gd name="connsiteY5" fmla="*/ 572153 h 735702"/>
                <a:gd name="connsiteX6" fmla="*/ 72413 w 331325"/>
                <a:gd name="connsiteY6" fmla="*/ 573497 h 735702"/>
                <a:gd name="connsiteX7" fmla="*/ 29959 w 331325"/>
                <a:gd name="connsiteY7" fmla="*/ 0 h 735702"/>
                <a:gd name="connsiteX0" fmla="*/ 29959 w 331325"/>
                <a:gd name="connsiteY0" fmla="*/ 0 h 735702"/>
                <a:gd name="connsiteX1" fmla="*/ 182326 w 331325"/>
                <a:gd name="connsiteY1" fmla="*/ 71 h 735702"/>
                <a:gd name="connsiteX2" fmla="*/ 245042 w 331325"/>
                <a:gd name="connsiteY2" fmla="*/ 591612 h 735702"/>
                <a:gd name="connsiteX3" fmla="*/ 331325 w 331325"/>
                <a:gd name="connsiteY3" fmla="*/ 606401 h 735702"/>
                <a:gd name="connsiteX4" fmla="*/ 149008 w 331325"/>
                <a:gd name="connsiteY4" fmla="*/ 735702 h 735702"/>
                <a:gd name="connsiteX5" fmla="*/ 0 w 331325"/>
                <a:gd name="connsiteY5" fmla="*/ 572153 h 735702"/>
                <a:gd name="connsiteX6" fmla="*/ 72413 w 331325"/>
                <a:gd name="connsiteY6" fmla="*/ 573497 h 735702"/>
                <a:gd name="connsiteX7" fmla="*/ 29959 w 331325"/>
                <a:gd name="connsiteY7" fmla="*/ 0 h 735702"/>
                <a:gd name="connsiteX0" fmla="*/ 29959 w 331325"/>
                <a:gd name="connsiteY0" fmla="*/ 0 h 735702"/>
                <a:gd name="connsiteX1" fmla="*/ 209742 w 331325"/>
                <a:gd name="connsiteY1" fmla="*/ 4105 h 735702"/>
                <a:gd name="connsiteX2" fmla="*/ 245042 w 331325"/>
                <a:gd name="connsiteY2" fmla="*/ 591612 h 735702"/>
                <a:gd name="connsiteX3" fmla="*/ 331325 w 331325"/>
                <a:gd name="connsiteY3" fmla="*/ 606401 h 735702"/>
                <a:gd name="connsiteX4" fmla="*/ 149008 w 331325"/>
                <a:gd name="connsiteY4" fmla="*/ 735702 h 735702"/>
                <a:gd name="connsiteX5" fmla="*/ 0 w 331325"/>
                <a:gd name="connsiteY5" fmla="*/ 572153 h 735702"/>
                <a:gd name="connsiteX6" fmla="*/ 72413 w 331325"/>
                <a:gd name="connsiteY6" fmla="*/ 573497 h 735702"/>
                <a:gd name="connsiteX7" fmla="*/ 29959 w 331325"/>
                <a:gd name="connsiteY7" fmla="*/ 0 h 735702"/>
                <a:gd name="connsiteX0" fmla="*/ 29959 w 331325"/>
                <a:gd name="connsiteY0" fmla="*/ 0 h 735702"/>
                <a:gd name="connsiteX1" fmla="*/ 221491 w 331325"/>
                <a:gd name="connsiteY1" fmla="*/ 5832 h 735702"/>
                <a:gd name="connsiteX2" fmla="*/ 245042 w 331325"/>
                <a:gd name="connsiteY2" fmla="*/ 591612 h 735702"/>
                <a:gd name="connsiteX3" fmla="*/ 331325 w 331325"/>
                <a:gd name="connsiteY3" fmla="*/ 606401 h 735702"/>
                <a:gd name="connsiteX4" fmla="*/ 149008 w 331325"/>
                <a:gd name="connsiteY4" fmla="*/ 735702 h 735702"/>
                <a:gd name="connsiteX5" fmla="*/ 0 w 331325"/>
                <a:gd name="connsiteY5" fmla="*/ 572153 h 735702"/>
                <a:gd name="connsiteX6" fmla="*/ 72413 w 331325"/>
                <a:gd name="connsiteY6" fmla="*/ 573497 h 735702"/>
                <a:gd name="connsiteX7" fmla="*/ 29959 w 331325"/>
                <a:gd name="connsiteY7" fmla="*/ 0 h 735702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25713 w 316959"/>
                <a:gd name="connsiteY0" fmla="*/ 0 h 732214"/>
                <a:gd name="connsiteX1" fmla="*/ 207125 w 316959"/>
                <a:gd name="connsiteY1" fmla="*/ 2344 h 732214"/>
                <a:gd name="connsiteX2" fmla="*/ 230676 w 316959"/>
                <a:gd name="connsiteY2" fmla="*/ 588124 h 732214"/>
                <a:gd name="connsiteX3" fmla="*/ 316959 w 316959"/>
                <a:gd name="connsiteY3" fmla="*/ 602913 h 732214"/>
                <a:gd name="connsiteX4" fmla="*/ 134642 w 316959"/>
                <a:gd name="connsiteY4" fmla="*/ 732214 h 732214"/>
                <a:gd name="connsiteX5" fmla="*/ 0 w 316959"/>
                <a:gd name="connsiteY5" fmla="*/ 574780 h 732214"/>
                <a:gd name="connsiteX6" fmla="*/ 58047 w 316959"/>
                <a:gd name="connsiteY6" fmla="*/ 570009 h 732214"/>
                <a:gd name="connsiteX7" fmla="*/ 25713 w 316959"/>
                <a:gd name="connsiteY7" fmla="*/ 0 h 732214"/>
                <a:gd name="connsiteX0" fmla="*/ 25713 w 290868"/>
                <a:gd name="connsiteY0" fmla="*/ 0 h 732214"/>
                <a:gd name="connsiteX1" fmla="*/ 207125 w 290868"/>
                <a:gd name="connsiteY1" fmla="*/ 2344 h 732214"/>
                <a:gd name="connsiteX2" fmla="*/ 230676 w 290868"/>
                <a:gd name="connsiteY2" fmla="*/ 588124 h 732214"/>
                <a:gd name="connsiteX3" fmla="*/ 290868 w 290868"/>
                <a:gd name="connsiteY3" fmla="*/ 613076 h 732214"/>
                <a:gd name="connsiteX4" fmla="*/ 134642 w 290868"/>
                <a:gd name="connsiteY4" fmla="*/ 732214 h 732214"/>
                <a:gd name="connsiteX5" fmla="*/ 0 w 290868"/>
                <a:gd name="connsiteY5" fmla="*/ 574780 h 732214"/>
                <a:gd name="connsiteX6" fmla="*/ 58047 w 290868"/>
                <a:gd name="connsiteY6" fmla="*/ 570009 h 732214"/>
                <a:gd name="connsiteX7" fmla="*/ 25713 w 290868"/>
                <a:gd name="connsiteY7" fmla="*/ 0 h 732214"/>
                <a:gd name="connsiteX0" fmla="*/ 25713 w 290868"/>
                <a:gd name="connsiteY0" fmla="*/ 0 h 732214"/>
                <a:gd name="connsiteX1" fmla="*/ 207125 w 290868"/>
                <a:gd name="connsiteY1" fmla="*/ 2344 h 732214"/>
                <a:gd name="connsiteX2" fmla="*/ 230676 w 290868"/>
                <a:gd name="connsiteY2" fmla="*/ 588124 h 732214"/>
                <a:gd name="connsiteX3" fmla="*/ 290868 w 290868"/>
                <a:gd name="connsiteY3" fmla="*/ 613076 h 732214"/>
                <a:gd name="connsiteX4" fmla="*/ 134642 w 290868"/>
                <a:gd name="connsiteY4" fmla="*/ 732214 h 732214"/>
                <a:gd name="connsiteX5" fmla="*/ 0 w 290868"/>
                <a:gd name="connsiteY5" fmla="*/ 574780 h 732214"/>
                <a:gd name="connsiteX6" fmla="*/ 58712 w 290868"/>
                <a:gd name="connsiteY6" fmla="*/ 580107 h 732214"/>
                <a:gd name="connsiteX7" fmla="*/ 25713 w 290868"/>
                <a:gd name="connsiteY7" fmla="*/ 0 h 732214"/>
                <a:gd name="connsiteX0" fmla="*/ 25713 w 290868"/>
                <a:gd name="connsiteY0" fmla="*/ 0 h 732214"/>
                <a:gd name="connsiteX1" fmla="*/ 207125 w 290868"/>
                <a:gd name="connsiteY1" fmla="*/ 2344 h 732214"/>
                <a:gd name="connsiteX2" fmla="*/ 227763 w 290868"/>
                <a:gd name="connsiteY2" fmla="*/ 605698 h 732214"/>
                <a:gd name="connsiteX3" fmla="*/ 290868 w 290868"/>
                <a:gd name="connsiteY3" fmla="*/ 613076 h 732214"/>
                <a:gd name="connsiteX4" fmla="*/ 134642 w 290868"/>
                <a:gd name="connsiteY4" fmla="*/ 732214 h 732214"/>
                <a:gd name="connsiteX5" fmla="*/ 0 w 290868"/>
                <a:gd name="connsiteY5" fmla="*/ 574780 h 732214"/>
                <a:gd name="connsiteX6" fmla="*/ 58712 w 290868"/>
                <a:gd name="connsiteY6" fmla="*/ 580107 h 732214"/>
                <a:gd name="connsiteX7" fmla="*/ 25713 w 290868"/>
                <a:gd name="connsiteY7" fmla="*/ 0 h 732214"/>
                <a:gd name="connsiteX0" fmla="*/ 27021 w 292176"/>
                <a:gd name="connsiteY0" fmla="*/ 0 h 732214"/>
                <a:gd name="connsiteX1" fmla="*/ 208433 w 292176"/>
                <a:gd name="connsiteY1" fmla="*/ 2344 h 732214"/>
                <a:gd name="connsiteX2" fmla="*/ 229071 w 292176"/>
                <a:gd name="connsiteY2" fmla="*/ 605698 h 732214"/>
                <a:gd name="connsiteX3" fmla="*/ 292176 w 292176"/>
                <a:gd name="connsiteY3" fmla="*/ 613076 h 732214"/>
                <a:gd name="connsiteX4" fmla="*/ 135950 w 292176"/>
                <a:gd name="connsiteY4" fmla="*/ 732214 h 732214"/>
                <a:gd name="connsiteX5" fmla="*/ 0 w 292176"/>
                <a:gd name="connsiteY5" fmla="*/ 572588 h 732214"/>
                <a:gd name="connsiteX6" fmla="*/ 60020 w 292176"/>
                <a:gd name="connsiteY6" fmla="*/ 580107 h 732214"/>
                <a:gd name="connsiteX7" fmla="*/ 27021 w 292176"/>
                <a:gd name="connsiteY7" fmla="*/ 0 h 732214"/>
                <a:gd name="connsiteX0" fmla="*/ 27021 w 292176"/>
                <a:gd name="connsiteY0" fmla="*/ 0 h 741880"/>
                <a:gd name="connsiteX1" fmla="*/ 208433 w 292176"/>
                <a:gd name="connsiteY1" fmla="*/ 2344 h 741880"/>
                <a:gd name="connsiteX2" fmla="*/ 229071 w 292176"/>
                <a:gd name="connsiteY2" fmla="*/ 605698 h 741880"/>
                <a:gd name="connsiteX3" fmla="*/ 292176 w 292176"/>
                <a:gd name="connsiteY3" fmla="*/ 613076 h 741880"/>
                <a:gd name="connsiteX4" fmla="*/ 133679 w 292176"/>
                <a:gd name="connsiteY4" fmla="*/ 741880 h 741880"/>
                <a:gd name="connsiteX5" fmla="*/ 0 w 292176"/>
                <a:gd name="connsiteY5" fmla="*/ 572588 h 741880"/>
                <a:gd name="connsiteX6" fmla="*/ 60020 w 292176"/>
                <a:gd name="connsiteY6" fmla="*/ 580107 h 741880"/>
                <a:gd name="connsiteX7" fmla="*/ 27021 w 292176"/>
                <a:gd name="connsiteY7" fmla="*/ 0 h 741880"/>
                <a:gd name="connsiteX0" fmla="*/ 27021 w 292176"/>
                <a:gd name="connsiteY0" fmla="*/ 0 h 741880"/>
                <a:gd name="connsiteX1" fmla="*/ 208433 w 292176"/>
                <a:gd name="connsiteY1" fmla="*/ 2344 h 741880"/>
                <a:gd name="connsiteX2" fmla="*/ 229713 w 292176"/>
                <a:gd name="connsiteY2" fmla="*/ 597792 h 741880"/>
                <a:gd name="connsiteX3" fmla="*/ 292176 w 292176"/>
                <a:gd name="connsiteY3" fmla="*/ 613076 h 741880"/>
                <a:gd name="connsiteX4" fmla="*/ 133679 w 292176"/>
                <a:gd name="connsiteY4" fmla="*/ 741880 h 741880"/>
                <a:gd name="connsiteX5" fmla="*/ 0 w 292176"/>
                <a:gd name="connsiteY5" fmla="*/ 572588 h 741880"/>
                <a:gd name="connsiteX6" fmla="*/ 60020 w 292176"/>
                <a:gd name="connsiteY6" fmla="*/ 580107 h 741880"/>
                <a:gd name="connsiteX7" fmla="*/ 27021 w 292176"/>
                <a:gd name="connsiteY7" fmla="*/ 0 h 741880"/>
                <a:gd name="connsiteX0" fmla="*/ 27021 w 292176"/>
                <a:gd name="connsiteY0" fmla="*/ 0 h 741880"/>
                <a:gd name="connsiteX1" fmla="*/ 219860 w 292176"/>
                <a:gd name="connsiteY1" fmla="*/ 8025 h 741880"/>
                <a:gd name="connsiteX2" fmla="*/ 229713 w 292176"/>
                <a:gd name="connsiteY2" fmla="*/ 597792 h 741880"/>
                <a:gd name="connsiteX3" fmla="*/ 292176 w 292176"/>
                <a:gd name="connsiteY3" fmla="*/ 613076 h 741880"/>
                <a:gd name="connsiteX4" fmla="*/ 133679 w 292176"/>
                <a:gd name="connsiteY4" fmla="*/ 741880 h 741880"/>
                <a:gd name="connsiteX5" fmla="*/ 0 w 292176"/>
                <a:gd name="connsiteY5" fmla="*/ 572588 h 741880"/>
                <a:gd name="connsiteX6" fmla="*/ 60020 w 292176"/>
                <a:gd name="connsiteY6" fmla="*/ 580107 h 741880"/>
                <a:gd name="connsiteX7" fmla="*/ 27021 w 292176"/>
                <a:gd name="connsiteY7" fmla="*/ 0 h 7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176" h="741880">
                  <a:moveTo>
                    <a:pt x="27021" y="0"/>
                  </a:moveTo>
                  <a:lnTo>
                    <a:pt x="219860" y="8025"/>
                  </a:lnTo>
                  <a:cubicBezTo>
                    <a:pt x="280882" y="249963"/>
                    <a:pt x="251380" y="518322"/>
                    <a:pt x="229713" y="597792"/>
                  </a:cubicBezTo>
                  <a:lnTo>
                    <a:pt x="292176" y="613076"/>
                  </a:lnTo>
                  <a:lnTo>
                    <a:pt x="133679" y="741880"/>
                  </a:lnTo>
                  <a:lnTo>
                    <a:pt x="0" y="572588"/>
                  </a:lnTo>
                  <a:lnTo>
                    <a:pt x="60020" y="580107"/>
                  </a:lnTo>
                  <a:cubicBezTo>
                    <a:pt x="75298" y="517510"/>
                    <a:pt x="120241" y="243172"/>
                    <a:pt x="27021" y="0"/>
                  </a:cubicBezTo>
                  <a:close/>
                </a:path>
              </a:pathLst>
            </a:custGeom>
            <a:gradFill>
              <a:gsLst>
                <a:gs pos="19000">
                  <a:srgbClr val="FFFFFF">
                    <a:alpha val="56000"/>
                  </a:srgbClr>
                </a:gs>
                <a:gs pos="35000">
                  <a:srgbClr val="FFFFFF"/>
                </a:gs>
                <a:gs pos="0">
                  <a:srgbClr val="FFFFFF">
                    <a:alpha val="0"/>
                  </a:srgbClr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srgbClr val="000000"/>
                </a:solidFill>
                <a:latin typeface="Open Sans"/>
                <a:cs typeface="Open Sans"/>
              </a:endParaRPr>
            </a:p>
          </p:txBody>
        </p:sp>
        <p:sp>
          <p:nvSpPr>
            <p:cNvPr id="21" name="Curved Down Arrow 32"/>
            <p:cNvSpPr/>
            <p:nvPr>
              <p:custDataLst>
                <p:tags r:id="rId13"/>
              </p:custDataLst>
            </p:nvPr>
          </p:nvSpPr>
          <p:spPr>
            <a:xfrm rot="2325724">
              <a:off x="5168450" y="2559290"/>
              <a:ext cx="332993" cy="628284"/>
            </a:xfrm>
            <a:custGeom>
              <a:avLst/>
              <a:gdLst>
                <a:gd name="connsiteX0" fmla="*/ 0 w 389067"/>
                <a:gd name="connsiteY0" fmla="*/ 14695 h 736470"/>
                <a:gd name="connsiteX1" fmla="*/ 199235 w 389067"/>
                <a:gd name="connsiteY1" fmla="*/ 0 h 736470"/>
                <a:gd name="connsiteX2" fmla="*/ 305209 w 389067"/>
                <a:gd name="connsiteY2" fmla="*/ 580640 h 736470"/>
                <a:gd name="connsiteX3" fmla="*/ 389067 w 389067"/>
                <a:gd name="connsiteY3" fmla="*/ 576035 h 736470"/>
                <a:gd name="connsiteX4" fmla="*/ 214483 w 389067"/>
                <a:gd name="connsiteY4" fmla="*/ 736470 h 736470"/>
                <a:gd name="connsiteX5" fmla="*/ 31683 w 389067"/>
                <a:gd name="connsiteY5" fmla="*/ 593917 h 736470"/>
                <a:gd name="connsiteX6" fmla="*/ 120148 w 389067"/>
                <a:gd name="connsiteY6" fmla="*/ 580640 h 736470"/>
                <a:gd name="connsiteX7" fmla="*/ 0 w 389067"/>
                <a:gd name="connsiteY7" fmla="*/ 14695 h 736470"/>
                <a:gd name="connsiteX0" fmla="*/ 0 w 389067"/>
                <a:gd name="connsiteY0" fmla="*/ 19958 h 741733"/>
                <a:gd name="connsiteX1" fmla="*/ 207380 w 389067"/>
                <a:gd name="connsiteY1" fmla="*/ 0 h 741733"/>
                <a:gd name="connsiteX2" fmla="*/ 305209 w 389067"/>
                <a:gd name="connsiteY2" fmla="*/ 585903 h 741733"/>
                <a:gd name="connsiteX3" fmla="*/ 389067 w 389067"/>
                <a:gd name="connsiteY3" fmla="*/ 581298 h 741733"/>
                <a:gd name="connsiteX4" fmla="*/ 214483 w 389067"/>
                <a:gd name="connsiteY4" fmla="*/ 741733 h 741733"/>
                <a:gd name="connsiteX5" fmla="*/ 31683 w 389067"/>
                <a:gd name="connsiteY5" fmla="*/ 599180 h 741733"/>
                <a:gd name="connsiteX6" fmla="*/ 120148 w 389067"/>
                <a:gd name="connsiteY6" fmla="*/ 585903 h 741733"/>
                <a:gd name="connsiteX7" fmla="*/ 0 w 389067"/>
                <a:gd name="connsiteY7" fmla="*/ 19958 h 741733"/>
                <a:gd name="connsiteX0" fmla="*/ 0 w 368890"/>
                <a:gd name="connsiteY0" fmla="*/ 18947 h 741733"/>
                <a:gd name="connsiteX1" fmla="*/ 187203 w 368890"/>
                <a:gd name="connsiteY1" fmla="*/ 0 h 741733"/>
                <a:gd name="connsiteX2" fmla="*/ 285032 w 368890"/>
                <a:gd name="connsiteY2" fmla="*/ 585903 h 741733"/>
                <a:gd name="connsiteX3" fmla="*/ 368890 w 368890"/>
                <a:gd name="connsiteY3" fmla="*/ 581298 h 741733"/>
                <a:gd name="connsiteX4" fmla="*/ 194306 w 368890"/>
                <a:gd name="connsiteY4" fmla="*/ 741733 h 741733"/>
                <a:gd name="connsiteX5" fmla="*/ 11506 w 368890"/>
                <a:gd name="connsiteY5" fmla="*/ 599180 h 741733"/>
                <a:gd name="connsiteX6" fmla="*/ 99971 w 368890"/>
                <a:gd name="connsiteY6" fmla="*/ 585903 h 741733"/>
                <a:gd name="connsiteX7" fmla="*/ 0 w 368890"/>
                <a:gd name="connsiteY7" fmla="*/ 18947 h 741733"/>
                <a:gd name="connsiteX0" fmla="*/ 0 w 368890"/>
                <a:gd name="connsiteY0" fmla="*/ 4317 h 727103"/>
                <a:gd name="connsiteX1" fmla="*/ 190264 w 368890"/>
                <a:gd name="connsiteY1" fmla="*/ 0 h 727103"/>
                <a:gd name="connsiteX2" fmla="*/ 285032 w 368890"/>
                <a:gd name="connsiteY2" fmla="*/ 571273 h 727103"/>
                <a:gd name="connsiteX3" fmla="*/ 368890 w 368890"/>
                <a:gd name="connsiteY3" fmla="*/ 566668 h 727103"/>
                <a:gd name="connsiteX4" fmla="*/ 194306 w 368890"/>
                <a:gd name="connsiteY4" fmla="*/ 727103 h 727103"/>
                <a:gd name="connsiteX5" fmla="*/ 11506 w 368890"/>
                <a:gd name="connsiteY5" fmla="*/ 584550 h 727103"/>
                <a:gd name="connsiteX6" fmla="*/ 99971 w 368890"/>
                <a:gd name="connsiteY6" fmla="*/ 571273 h 727103"/>
                <a:gd name="connsiteX7" fmla="*/ 0 w 368890"/>
                <a:gd name="connsiteY7" fmla="*/ 4317 h 727103"/>
                <a:gd name="connsiteX0" fmla="*/ 0 w 368890"/>
                <a:gd name="connsiteY0" fmla="*/ 4317 h 727103"/>
                <a:gd name="connsiteX1" fmla="*/ 190264 w 368890"/>
                <a:gd name="connsiteY1" fmla="*/ 0 h 727103"/>
                <a:gd name="connsiteX2" fmla="*/ 285032 w 368890"/>
                <a:gd name="connsiteY2" fmla="*/ 571273 h 727103"/>
                <a:gd name="connsiteX3" fmla="*/ 368890 w 368890"/>
                <a:gd name="connsiteY3" fmla="*/ 566668 h 727103"/>
                <a:gd name="connsiteX4" fmla="*/ 194306 w 368890"/>
                <a:gd name="connsiteY4" fmla="*/ 727103 h 727103"/>
                <a:gd name="connsiteX5" fmla="*/ 11506 w 368890"/>
                <a:gd name="connsiteY5" fmla="*/ 584550 h 727103"/>
                <a:gd name="connsiteX6" fmla="*/ 99971 w 368890"/>
                <a:gd name="connsiteY6" fmla="*/ 571273 h 727103"/>
                <a:gd name="connsiteX7" fmla="*/ 0 w 368890"/>
                <a:gd name="connsiteY7" fmla="*/ 4317 h 727103"/>
                <a:gd name="connsiteX0" fmla="*/ 0 w 368890"/>
                <a:gd name="connsiteY0" fmla="*/ 4317 h 727103"/>
                <a:gd name="connsiteX1" fmla="*/ 190264 w 368890"/>
                <a:gd name="connsiteY1" fmla="*/ 0 h 727103"/>
                <a:gd name="connsiteX2" fmla="*/ 285032 w 368890"/>
                <a:gd name="connsiteY2" fmla="*/ 571273 h 727103"/>
                <a:gd name="connsiteX3" fmla="*/ 368890 w 368890"/>
                <a:gd name="connsiteY3" fmla="*/ 566668 h 727103"/>
                <a:gd name="connsiteX4" fmla="*/ 194306 w 368890"/>
                <a:gd name="connsiteY4" fmla="*/ 727103 h 727103"/>
                <a:gd name="connsiteX5" fmla="*/ 10684 w 368890"/>
                <a:gd name="connsiteY5" fmla="*/ 567704 h 727103"/>
                <a:gd name="connsiteX6" fmla="*/ 99971 w 368890"/>
                <a:gd name="connsiteY6" fmla="*/ 571273 h 727103"/>
                <a:gd name="connsiteX7" fmla="*/ 0 w 368890"/>
                <a:gd name="connsiteY7" fmla="*/ 4317 h 727103"/>
                <a:gd name="connsiteX0" fmla="*/ 0 w 363912"/>
                <a:gd name="connsiteY0" fmla="*/ 4317 h 727103"/>
                <a:gd name="connsiteX1" fmla="*/ 190264 w 363912"/>
                <a:gd name="connsiteY1" fmla="*/ 0 h 727103"/>
                <a:gd name="connsiteX2" fmla="*/ 285032 w 363912"/>
                <a:gd name="connsiteY2" fmla="*/ 571273 h 727103"/>
                <a:gd name="connsiteX3" fmla="*/ 363912 w 363912"/>
                <a:gd name="connsiteY3" fmla="*/ 585949 h 727103"/>
                <a:gd name="connsiteX4" fmla="*/ 194306 w 363912"/>
                <a:gd name="connsiteY4" fmla="*/ 727103 h 727103"/>
                <a:gd name="connsiteX5" fmla="*/ 10684 w 363912"/>
                <a:gd name="connsiteY5" fmla="*/ 567704 h 727103"/>
                <a:gd name="connsiteX6" fmla="*/ 99971 w 363912"/>
                <a:gd name="connsiteY6" fmla="*/ 571273 h 727103"/>
                <a:gd name="connsiteX7" fmla="*/ 0 w 363912"/>
                <a:gd name="connsiteY7" fmla="*/ 4317 h 727103"/>
                <a:gd name="connsiteX0" fmla="*/ 0 w 358113"/>
                <a:gd name="connsiteY0" fmla="*/ 4317 h 727103"/>
                <a:gd name="connsiteX1" fmla="*/ 190264 w 358113"/>
                <a:gd name="connsiteY1" fmla="*/ 0 h 727103"/>
                <a:gd name="connsiteX2" fmla="*/ 285032 w 358113"/>
                <a:gd name="connsiteY2" fmla="*/ 571273 h 727103"/>
                <a:gd name="connsiteX3" fmla="*/ 358113 w 358113"/>
                <a:gd name="connsiteY3" fmla="*/ 588385 h 727103"/>
                <a:gd name="connsiteX4" fmla="*/ 194306 w 358113"/>
                <a:gd name="connsiteY4" fmla="*/ 727103 h 727103"/>
                <a:gd name="connsiteX5" fmla="*/ 10684 w 358113"/>
                <a:gd name="connsiteY5" fmla="*/ 567704 h 727103"/>
                <a:gd name="connsiteX6" fmla="*/ 99971 w 358113"/>
                <a:gd name="connsiteY6" fmla="*/ 571273 h 727103"/>
                <a:gd name="connsiteX7" fmla="*/ 0 w 358113"/>
                <a:gd name="connsiteY7" fmla="*/ 4317 h 727103"/>
                <a:gd name="connsiteX0" fmla="*/ 0 w 358113"/>
                <a:gd name="connsiteY0" fmla="*/ 4317 h 727103"/>
                <a:gd name="connsiteX1" fmla="*/ 190264 w 358113"/>
                <a:gd name="connsiteY1" fmla="*/ 0 h 727103"/>
                <a:gd name="connsiteX2" fmla="*/ 273845 w 358113"/>
                <a:gd name="connsiteY2" fmla="*/ 584567 h 727103"/>
                <a:gd name="connsiteX3" fmla="*/ 358113 w 358113"/>
                <a:gd name="connsiteY3" fmla="*/ 588385 h 727103"/>
                <a:gd name="connsiteX4" fmla="*/ 194306 w 358113"/>
                <a:gd name="connsiteY4" fmla="*/ 727103 h 727103"/>
                <a:gd name="connsiteX5" fmla="*/ 10684 w 358113"/>
                <a:gd name="connsiteY5" fmla="*/ 567704 h 727103"/>
                <a:gd name="connsiteX6" fmla="*/ 99971 w 358113"/>
                <a:gd name="connsiteY6" fmla="*/ 571273 h 727103"/>
                <a:gd name="connsiteX7" fmla="*/ 0 w 358113"/>
                <a:gd name="connsiteY7" fmla="*/ 4317 h 727103"/>
                <a:gd name="connsiteX0" fmla="*/ 0 w 362869"/>
                <a:gd name="connsiteY0" fmla="*/ 4317 h 727103"/>
                <a:gd name="connsiteX1" fmla="*/ 190264 w 362869"/>
                <a:gd name="connsiteY1" fmla="*/ 0 h 727103"/>
                <a:gd name="connsiteX2" fmla="*/ 273845 w 362869"/>
                <a:gd name="connsiteY2" fmla="*/ 584567 h 727103"/>
                <a:gd name="connsiteX3" fmla="*/ 362869 w 362869"/>
                <a:gd name="connsiteY3" fmla="*/ 605011 h 727103"/>
                <a:gd name="connsiteX4" fmla="*/ 194306 w 362869"/>
                <a:gd name="connsiteY4" fmla="*/ 727103 h 727103"/>
                <a:gd name="connsiteX5" fmla="*/ 10684 w 362869"/>
                <a:gd name="connsiteY5" fmla="*/ 567704 h 727103"/>
                <a:gd name="connsiteX6" fmla="*/ 99971 w 362869"/>
                <a:gd name="connsiteY6" fmla="*/ 571273 h 727103"/>
                <a:gd name="connsiteX7" fmla="*/ 0 w 362869"/>
                <a:gd name="connsiteY7" fmla="*/ 4317 h 727103"/>
                <a:gd name="connsiteX0" fmla="*/ 0 w 362869"/>
                <a:gd name="connsiteY0" fmla="*/ 4317 h 727103"/>
                <a:gd name="connsiteX1" fmla="*/ 190264 w 362869"/>
                <a:gd name="connsiteY1" fmla="*/ 0 h 727103"/>
                <a:gd name="connsiteX2" fmla="*/ 273845 w 362869"/>
                <a:gd name="connsiteY2" fmla="*/ 584567 h 727103"/>
                <a:gd name="connsiteX3" fmla="*/ 362869 w 362869"/>
                <a:gd name="connsiteY3" fmla="*/ 605011 h 727103"/>
                <a:gd name="connsiteX4" fmla="*/ 194306 w 362869"/>
                <a:gd name="connsiteY4" fmla="*/ 727103 h 727103"/>
                <a:gd name="connsiteX5" fmla="*/ 22077 w 362869"/>
                <a:gd name="connsiteY5" fmla="*/ 558622 h 727103"/>
                <a:gd name="connsiteX6" fmla="*/ 99971 w 362869"/>
                <a:gd name="connsiteY6" fmla="*/ 571273 h 727103"/>
                <a:gd name="connsiteX7" fmla="*/ 0 w 362869"/>
                <a:gd name="connsiteY7" fmla="*/ 4317 h 727103"/>
                <a:gd name="connsiteX0" fmla="*/ 0 w 362869"/>
                <a:gd name="connsiteY0" fmla="*/ 4317 h 727103"/>
                <a:gd name="connsiteX1" fmla="*/ 190264 w 362869"/>
                <a:gd name="connsiteY1" fmla="*/ 0 h 727103"/>
                <a:gd name="connsiteX2" fmla="*/ 273845 w 362869"/>
                <a:gd name="connsiteY2" fmla="*/ 584567 h 727103"/>
                <a:gd name="connsiteX3" fmla="*/ 362869 w 362869"/>
                <a:gd name="connsiteY3" fmla="*/ 605011 h 727103"/>
                <a:gd name="connsiteX4" fmla="*/ 194306 w 362869"/>
                <a:gd name="connsiteY4" fmla="*/ 727103 h 727103"/>
                <a:gd name="connsiteX5" fmla="*/ 24763 w 362869"/>
                <a:gd name="connsiteY5" fmla="*/ 573252 h 727103"/>
                <a:gd name="connsiteX6" fmla="*/ 99971 w 362869"/>
                <a:gd name="connsiteY6" fmla="*/ 571273 h 727103"/>
                <a:gd name="connsiteX7" fmla="*/ 0 w 362869"/>
                <a:gd name="connsiteY7" fmla="*/ 4317 h 727103"/>
                <a:gd name="connsiteX0" fmla="*/ 0 w 359346"/>
                <a:gd name="connsiteY0" fmla="*/ 4317 h 727103"/>
                <a:gd name="connsiteX1" fmla="*/ 190264 w 359346"/>
                <a:gd name="connsiteY1" fmla="*/ 0 h 727103"/>
                <a:gd name="connsiteX2" fmla="*/ 273845 w 359346"/>
                <a:gd name="connsiteY2" fmla="*/ 584567 h 727103"/>
                <a:gd name="connsiteX3" fmla="*/ 359346 w 359346"/>
                <a:gd name="connsiteY3" fmla="*/ 613653 h 727103"/>
                <a:gd name="connsiteX4" fmla="*/ 194306 w 359346"/>
                <a:gd name="connsiteY4" fmla="*/ 727103 h 727103"/>
                <a:gd name="connsiteX5" fmla="*/ 24763 w 359346"/>
                <a:gd name="connsiteY5" fmla="*/ 573252 h 727103"/>
                <a:gd name="connsiteX6" fmla="*/ 99971 w 359346"/>
                <a:gd name="connsiteY6" fmla="*/ 571273 h 727103"/>
                <a:gd name="connsiteX7" fmla="*/ 0 w 359346"/>
                <a:gd name="connsiteY7" fmla="*/ 4317 h 727103"/>
                <a:gd name="connsiteX0" fmla="*/ 0 w 359346"/>
                <a:gd name="connsiteY0" fmla="*/ 2982 h 725768"/>
                <a:gd name="connsiteX1" fmla="*/ 204137 w 359346"/>
                <a:gd name="connsiteY1" fmla="*/ 0 h 725768"/>
                <a:gd name="connsiteX2" fmla="*/ 273845 w 359346"/>
                <a:gd name="connsiteY2" fmla="*/ 583232 h 725768"/>
                <a:gd name="connsiteX3" fmla="*/ 359346 w 359346"/>
                <a:gd name="connsiteY3" fmla="*/ 612318 h 725768"/>
                <a:gd name="connsiteX4" fmla="*/ 194306 w 359346"/>
                <a:gd name="connsiteY4" fmla="*/ 725768 h 725768"/>
                <a:gd name="connsiteX5" fmla="*/ 24763 w 359346"/>
                <a:gd name="connsiteY5" fmla="*/ 571917 h 725768"/>
                <a:gd name="connsiteX6" fmla="*/ 99971 w 359346"/>
                <a:gd name="connsiteY6" fmla="*/ 569938 h 725768"/>
                <a:gd name="connsiteX7" fmla="*/ 0 w 359346"/>
                <a:gd name="connsiteY7" fmla="*/ 2982 h 725768"/>
                <a:gd name="connsiteX0" fmla="*/ 0 w 357639"/>
                <a:gd name="connsiteY0" fmla="*/ 2982 h 725768"/>
                <a:gd name="connsiteX1" fmla="*/ 204137 w 357639"/>
                <a:gd name="connsiteY1" fmla="*/ 0 h 725768"/>
                <a:gd name="connsiteX2" fmla="*/ 273845 w 357639"/>
                <a:gd name="connsiteY2" fmla="*/ 583232 h 725768"/>
                <a:gd name="connsiteX3" fmla="*/ 357639 w 357639"/>
                <a:gd name="connsiteY3" fmla="*/ 607662 h 725768"/>
                <a:gd name="connsiteX4" fmla="*/ 194306 w 357639"/>
                <a:gd name="connsiteY4" fmla="*/ 725768 h 725768"/>
                <a:gd name="connsiteX5" fmla="*/ 24763 w 357639"/>
                <a:gd name="connsiteY5" fmla="*/ 571917 h 725768"/>
                <a:gd name="connsiteX6" fmla="*/ 99971 w 357639"/>
                <a:gd name="connsiteY6" fmla="*/ 569938 h 725768"/>
                <a:gd name="connsiteX7" fmla="*/ 0 w 357639"/>
                <a:gd name="connsiteY7" fmla="*/ 2982 h 725768"/>
                <a:gd name="connsiteX0" fmla="*/ 0 w 357639"/>
                <a:gd name="connsiteY0" fmla="*/ 2982 h 725768"/>
                <a:gd name="connsiteX1" fmla="*/ 204137 w 357639"/>
                <a:gd name="connsiteY1" fmla="*/ 0 h 725768"/>
                <a:gd name="connsiteX2" fmla="*/ 266853 w 357639"/>
                <a:gd name="connsiteY2" fmla="*/ 591541 h 725768"/>
                <a:gd name="connsiteX3" fmla="*/ 357639 w 357639"/>
                <a:gd name="connsiteY3" fmla="*/ 607662 h 725768"/>
                <a:gd name="connsiteX4" fmla="*/ 194306 w 357639"/>
                <a:gd name="connsiteY4" fmla="*/ 725768 h 725768"/>
                <a:gd name="connsiteX5" fmla="*/ 24763 w 357639"/>
                <a:gd name="connsiteY5" fmla="*/ 571917 h 725768"/>
                <a:gd name="connsiteX6" fmla="*/ 99971 w 357639"/>
                <a:gd name="connsiteY6" fmla="*/ 569938 h 725768"/>
                <a:gd name="connsiteX7" fmla="*/ 0 w 357639"/>
                <a:gd name="connsiteY7" fmla="*/ 2982 h 725768"/>
                <a:gd name="connsiteX0" fmla="*/ 0 w 353136"/>
                <a:gd name="connsiteY0" fmla="*/ 2982 h 725768"/>
                <a:gd name="connsiteX1" fmla="*/ 204137 w 353136"/>
                <a:gd name="connsiteY1" fmla="*/ 0 h 725768"/>
                <a:gd name="connsiteX2" fmla="*/ 266853 w 353136"/>
                <a:gd name="connsiteY2" fmla="*/ 591541 h 725768"/>
                <a:gd name="connsiteX3" fmla="*/ 353136 w 353136"/>
                <a:gd name="connsiteY3" fmla="*/ 606330 h 725768"/>
                <a:gd name="connsiteX4" fmla="*/ 194306 w 353136"/>
                <a:gd name="connsiteY4" fmla="*/ 725768 h 725768"/>
                <a:gd name="connsiteX5" fmla="*/ 24763 w 353136"/>
                <a:gd name="connsiteY5" fmla="*/ 571917 h 725768"/>
                <a:gd name="connsiteX6" fmla="*/ 99971 w 353136"/>
                <a:gd name="connsiteY6" fmla="*/ 569938 h 725768"/>
                <a:gd name="connsiteX7" fmla="*/ 0 w 353136"/>
                <a:gd name="connsiteY7" fmla="*/ 2982 h 725768"/>
                <a:gd name="connsiteX0" fmla="*/ 0 w 353136"/>
                <a:gd name="connsiteY0" fmla="*/ 2982 h 737458"/>
                <a:gd name="connsiteX1" fmla="*/ 204137 w 353136"/>
                <a:gd name="connsiteY1" fmla="*/ 0 h 737458"/>
                <a:gd name="connsiteX2" fmla="*/ 266853 w 353136"/>
                <a:gd name="connsiteY2" fmla="*/ 591541 h 737458"/>
                <a:gd name="connsiteX3" fmla="*/ 353136 w 353136"/>
                <a:gd name="connsiteY3" fmla="*/ 606330 h 737458"/>
                <a:gd name="connsiteX4" fmla="*/ 166471 w 353136"/>
                <a:gd name="connsiteY4" fmla="*/ 737458 h 737458"/>
                <a:gd name="connsiteX5" fmla="*/ 24763 w 353136"/>
                <a:gd name="connsiteY5" fmla="*/ 571917 h 737458"/>
                <a:gd name="connsiteX6" fmla="*/ 99971 w 353136"/>
                <a:gd name="connsiteY6" fmla="*/ 569938 h 737458"/>
                <a:gd name="connsiteX7" fmla="*/ 0 w 353136"/>
                <a:gd name="connsiteY7" fmla="*/ 2982 h 737458"/>
                <a:gd name="connsiteX0" fmla="*/ 0 w 353136"/>
                <a:gd name="connsiteY0" fmla="*/ 2982 h 735631"/>
                <a:gd name="connsiteX1" fmla="*/ 204137 w 353136"/>
                <a:gd name="connsiteY1" fmla="*/ 0 h 735631"/>
                <a:gd name="connsiteX2" fmla="*/ 266853 w 353136"/>
                <a:gd name="connsiteY2" fmla="*/ 591541 h 735631"/>
                <a:gd name="connsiteX3" fmla="*/ 353136 w 353136"/>
                <a:gd name="connsiteY3" fmla="*/ 606330 h 735631"/>
                <a:gd name="connsiteX4" fmla="*/ 170819 w 353136"/>
                <a:gd name="connsiteY4" fmla="*/ 735631 h 735631"/>
                <a:gd name="connsiteX5" fmla="*/ 24763 w 353136"/>
                <a:gd name="connsiteY5" fmla="*/ 571917 h 735631"/>
                <a:gd name="connsiteX6" fmla="*/ 99971 w 353136"/>
                <a:gd name="connsiteY6" fmla="*/ 569938 h 735631"/>
                <a:gd name="connsiteX7" fmla="*/ 0 w 353136"/>
                <a:gd name="connsiteY7" fmla="*/ 2982 h 735631"/>
                <a:gd name="connsiteX0" fmla="*/ 0 w 353136"/>
                <a:gd name="connsiteY0" fmla="*/ 2982 h 735631"/>
                <a:gd name="connsiteX1" fmla="*/ 204137 w 353136"/>
                <a:gd name="connsiteY1" fmla="*/ 0 h 735631"/>
                <a:gd name="connsiteX2" fmla="*/ 266853 w 353136"/>
                <a:gd name="connsiteY2" fmla="*/ 591541 h 735631"/>
                <a:gd name="connsiteX3" fmla="*/ 353136 w 353136"/>
                <a:gd name="connsiteY3" fmla="*/ 606330 h 735631"/>
                <a:gd name="connsiteX4" fmla="*/ 170819 w 353136"/>
                <a:gd name="connsiteY4" fmla="*/ 735631 h 735631"/>
                <a:gd name="connsiteX5" fmla="*/ 24763 w 353136"/>
                <a:gd name="connsiteY5" fmla="*/ 571917 h 735631"/>
                <a:gd name="connsiteX6" fmla="*/ 94224 w 353136"/>
                <a:gd name="connsiteY6" fmla="*/ 573426 h 735631"/>
                <a:gd name="connsiteX7" fmla="*/ 0 w 353136"/>
                <a:gd name="connsiteY7" fmla="*/ 2982 h 735631"/>
                <a:gd name="connsiteX0" fmla="*/ 0 w 353136"/>
                <a:gd name="connsiteY0" fmla="*/ 2982 h 735631"/>
                <a:gd name="connsiteX1" fmla="*/ 204137 w 353136"/>
                <a:gd name="connsiteY1" fmla="*/ 0 h 735631"/>
                <a:gd name="connsiteX2" fmla="*/ 266853 w 353136"/>
                <a:gd name="connsiteY2" fmla="*/ 591541 h 735631"/>
                <a:gd name="connsiteX3" fmla="*/ 353136 w 353136"/>
                <a:gd name="connsiteY3" fmla="*/ 606330 h 735631"/>
                <a:gd name="connsiteX4" fmla="*/ 170819 w 353136"/>
                <a:gd name="connsiteY4" fmla="*/ 735631 h 735631"/>
                <a:gd name="connsiteX5" fmla="*/ 21811 w 353136"/>
                <a:gd name="connsiteY5" fmla="*/ 572082 h 735631"/>
                <a:gd name="connsiteX6" fmla="*/ 94224 w 353136"/>
                <a:gd name="connsiteY6" fmla="*/ 573426 h 735631"/>
                <a:gd name="connsiteX7" fmla="*/ 0 w 353136"/>
                <a:gd name="connsiteY7" fmla="*/ 2982 h 735631"/>
                <a:gd name="connsiteX0" fmla="*/ 0 w 353136"/>
                <a:gd name="connsiteY0" fmla="*/ 2982 h 735631"/>
                <a:gd name="connsiteX1" fmla="*/ 204137 w 353136"/>
                <a:gd name="connsiteY1" fmla="*/ 0 h 735631"/>
                <a:gd name="connsiteX2" fmla="*/ 266853 w 353136"/>
                <a:gd name="connsiteY2" fmla="*/ 591541 h 735631"/>
                <a:gd name="connsiteX3" fmla="*/ 353136 w 353136"/>
                <a:gd name="connsiteY3" fmla="*/ 606330 h 735631"/>
                <a:gd name="connsiteX4" fmla="*/ 170819 w 353136"/>
                <a:gd name="connsiteY4" fmla="*/ 735631 h 735631"/>
                <a:gd name="connsiteX5" fmla="*/ 21811 w 353136"/>
                <a:gd name="connsiteY5" fmla="*/ 572082 h 735631"/>
                <a:gd name="connsiteX6" fmla="*/ 94224 w 353136"/>
                <a:gd name="connsiteY6" fmla="*/ 573426 h 735631"/>
                <a:gd name="connsiteX7" fmla="*/ 0 w 353136"/>
                <a:gd name="connsiteY7" fmla="*/ 2982 h 735631"/>
                <a:gd name="connsiteX0" fmla="*/ 29959 w 331325"/>
                <a:gd name="connsiteY0" fmla="*/ 0 h 735702"/>
                <a:gd name="connsiteX1" fmla="*/ 182326 w 331325"/>
                <a:gd name="connsiteY1" fmla="*/ 71 h 735702"/>
                <a:gd name="connsiteX2" fmla="*/ 245042 w 331325"/>
                <a:gd name="connsiteY2" fmla="*/ 591612 h 735702"/>
                <a:gd name="connsiteX3" fmla="*/ 331325 w 331325"/>
                <a:gd name="connsiteY3" fmla="*/ 606401 h 735702"/>
                <a:gd name="connsiteX4" fmla="*/ 149008 w 331325"/>
                <a:gd name="connsiteY4" fmla="*/ 735702 h 735702"/>
                <a:gd name="connsiteX5" fmla="*/ 0 w 331325"/>
                <a:gd name="connsiteY5" fmla="*/ 572153 h 735702"/>
                <a:gd name="connsiteX6" fmla="*/ 72413 w 331325"/>
                <a:gd name="connsiteY6" fmla="*/ 573497 h 735702"/>
                <a:gd name="connsiteX7" fmla="*/ 29959 w 331325"/>
                <a:gd name="connsiteY7" fmla="*/ 0 h 735702"/>
                <a:gd name="connsiteX0" fmla="*/ 29959 w 331325"/>
                <a:gd name="connsiteY0" fmla="*/ 0 h 735702"/>
                <a:gd name="connsiteX1" fmla="*/ 182326 w 331325"/>
                <a:gd name="connsiteY1" fmla="*/ 71 h 735702"/>
                <a:gd name="connsiteX2" fmla="*/ 245042 w 331325"/>
                <a:gd name="connsiteY2" fmla="*/ 591612 h 735702"/>
                <a:gd name="connsiteX3" fmla="*/ 331325 w 331325"/>
                <a:gd name="connsiteY3" fmla="*/ 606401 h 735702"/>
                <a:gd name="connsiteX4" fmla="*/ 149008 w 331325"/>
                <a:gd name="connsiteY4" fmla="*/ 735702 h 735702"/>
                <a:gd name="connsiteX5" fmla="*/ 0 w 331325"/>
                <a:gd name="connsiteY5" fmla="*/ 572153 h 735702"/>
                <a:gd name="connsiteX6" fmla="*/ 72413 w 331325"/>
                <a:gd name="connsiteY6" fmla="*/ 573497 h 735702"/>
                <a:gd name="connsiteX7" fmla="*/ 29959 w 331325"/>
                <a:gd name="connsiteY7" fmla="*/ 0 h 735702"/>
                <a:gd name="connsiteX0" fmla="*/ 29959 w 331325"/>
                <a:gd name="connsiteY0" fmla="*/ 0 h 735702"/>
                <a:gd name="connsiteX1" fmla="*/ 209742 w 331325"/>
                <a:gd name="connsiteY1" fmla="*/ 4105 h 735702"/>
                <a:gd name="connsiteX2" fmla="*/ 245042 w 331325"/>
                <a:gd name="connsiteY2" fmla="*/ 591612 h 735702"/>
                <a:gd name="connsiteX3" fmla="*/ 331325 w 331325"/>
                <a:gd name="connsiteY3" fmla="*/ 606401 h 735702"/>
                <a:gd name="connsiteX4" fmla="*/ 149008 w 331325"/>
                <a:gd name="connsiteY4" fmla="*/ 735702 h 735702"/>
                <a:gd name="connsiteX5" fmla="*/ 0 w 331325"/>
                <a:gd name="connsiteY5" fmla="*/ 572153 h 735702"/>
                <a:gd name="connsiteX6" fmla="*/ 72413 w 331325"/>
                <a:gd name="connsiteY6" fmla="*/ 573497 h 735702"/>
                <a:gd name="connsiteX7" fmla="*/ 29959 w 331325"/>
                <a:gd name="connsiteY7" fmla="*/ 0 h 735702"/>
                <a:gd name="connsiteX0" fmla="*/ 29959 w 331325"/>
                <a:gd name="connsiteY0" fmla="*/ 0 h 735702"/>
                <a:gd name="connsiteX1" fmla="*/ 221491 w 331325"/>
                <a:gd name="connsiteY1" fmla="*/ 5832 h 735702"/>
                <a:gd name="connsiteX2" fmla="*/ 245042 w 331325"/>
                <a:gd name="connsiteY2" fmla="*/ 591612 h 735702"/>
                <a:gd name="connsiteX3" fmla="*/ 331325 w 331325"/>
                <a:gd name="connsiteY3" fmla="*/ 606401 h 735702"/>
                <a:gd name="connsiteX4" fmla="*/ 149008 w 331325"/>
                <a:gd name="connsiteY4" fmla="*/ 735702 h 735702"/>
                <a:gd name="connsiteX5" fmla="*/ 0 w 331325"/>
                <a:gd name="connsiteY5" fmla="*/ 572153 h 735702"/>
                <a:gd name="connsiteX6" fmla="*/ 72413 w 331325"/>
                <a:gd name="connsiteY6" fmla="*/ 573497 h 735702"/>
                <a:gd name="connsiteX7" fmla="*/ 29959 w 331325"/>
                <a:gd name="connsiteY7" fmla="*/ 0 h 735702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25713 w 316959"/>
                <a:gd name="connsiteY0" fmla="*/ 0 h 732214"/>
                <a:gd name="connsiteX1" fmla="*/ 207125 w 316959"/>
                <a:gd name="connsiteY1" fmla="*/ 2344 h 732214"/>
                <a:gd name="connsiteX2" fmla="*/ 230676 w 316959"/>
                <a:gd name="connsiteY2" fmla="*/ 588124 h 732214"/>
                <a:gd name="connsiteX3" fmla="*/ 316959 w 316959"/>
                <a:gd name="connsiteY3" fmla="*/ 602913 h 732214"/>
                <a:gd name="connsiteX4" fmla="*/ 134642 w 316959"/>
                <a:gd name="connsiteY4" fmla="*/ 732214 h 732214"/>
                <a:gd name="connsiteX5" fmla="*/ 0 w 316959"/>
                <a:gd name="connsiteY5" fmla="*/ 574780 h 732214"/>
                <a:gd name="connsiteX6" fmla="*/ 58047 w 316959"/>
                <a:gd name="connsiteY6" fmla="*/ 570009 h 732214"/>
                <a:gd name="connsiteX7" fmla="*/ 25713 w 316959"/>
                <a:gd name="connsiteY7" fmla="*/ 0 h 732214"/>
                <a:gd name="connsiteX0" fmla="*/ 25713 w 290868"/>
                <a:gd name="connsiteY0" fmla="*/ 0 h 732214"/>
                <a:gd name="connsiteX1" fmla="*/ 207125 w 290868"/>
                <a:gd name="connsiteY1" fmla="*/ 2344 h 732214"/>
                <a:gd name="connsiteX2" fmla="*/ 230676 w 290868"/>
                <a:gd name="connsiteY2" fmla="*/ 588124 h 732214"/>
                <a:gd name="connsiteX3" fmla="*/ 290868 w 290868"/>
                <a:gd name="connsiteY3" fmla="*/ 613076 h 732214"/>
                <a:gd name="connsiteX4" fmla="*/ 134642 w 290868"/>
                <a:gd name="connsiteY4" fmla="*/ 732214 h 732214"/>
                <a:gd name="connsiteX5" fmla="*/ 0 w 290868"/>
                <a:gd name="connsiteY5" fmla="*/ 574780 h 732214"/>
                <a:gd name="connsiteX6" fmla="*/ 58047 w 290868"/>
                <a:gd name="connsiteY6" fmla="*/ 570009 h 732214"/>
                <a:gd name="connsiteX7" fmla="*/ 25713 w 290868"/>
                <a:gd name="connsiteY7" fmla="*/ 0 h 732214"/>
                <a:gd name="connsiteX0" fmla="*/ 25713 w 290868"/>
                <a:gd name="connsiteY0" fmla="*/ 0 h 732214"/>
                <a:gd name="connsiteX1" fmla="*/ 207125 w 290868"/>
                <a:gd name="connsiteY1" fmla="*/ 2344 h 732214"/>
                <a:gd name="connsiteX2" fmla="*/ 230676 w 290868"/>
                <a:gd name="connsiteY2" fmla="*/ 588124 h 732214"/>
                <a:gd name="connsiteX3" fmla="*/ 290868 w 290868"/>
                <a:gd name="connsiteY3" fmla="*/ 613076 h 732214"/>
                <a:gd name="connsiteX4" fmla="*/ 134642 w 290868"/>
                <a:gd name="connsiteY4" fmla="*/ 732214 h 732214"/>
                <a:gd name="connsiteX5" fmla="*/ 0 w 290868"/>
                <a:gd name="connsiteY5" fmla="*/ 574780 h 732214"/>
                <a:gd name="connsiteX6" fmla="*/ 58712 w 290868"/>
                <a:gd name="connsiteY6" fmla="*/ 580107 h 732214"/>
                <a:gd name="connsiteX7" fmla="*/ 25713 w 290868"/>
                <a:gd name="connsiteY7" fmla="*/ 0 h 732214"/>
                <a:gd name="connsiteX0" fmla="*/ 25713 w 290868"/>
                <a:gd name="connsiteY0" fmla="*/ 0 h 732214"/>
                <a:gd name="connsiteX1" fmla="*/ 207125 w 290868"/>
                <a:gd name="connsiteY1" fmla="*/ 2344 h 732214"/>
                <a:gd name="connsiteX2" fmla="*/ 227763 w 290868"/>
                <a:gd name="connsiteY2" fmla="*/ 605698 h 732214"/>
                <a:gd name="connsiteX3" fmla="*/ 290868 w 290868"/>
                <a:gd name="connsiteY3" fmla="*/ 613076 h 732214"/>
                <a:gd name="connsiteX4" fmla="*/ 134642 w 290868"/>
                <a:gd name="connsiteY4" fmla="*/ 732214 h 732214"/>
                <a:gd name="connsiteX5" fmla="*/ 0 w 290868"/>
                <a:gd name="connsiteY5" fmla="*/ 574780 h 732214"/>
                <a:gd name="connsiteX6" fmla="*/ 58712 w 290868"/>
                <a:gd name="connsiteY6" fmla="*/ 580107 h 732214"/>
                <a:gd name="connsiteX7" fmla="*/ 25713 w 290868"/>
                <a:gd name="connsiteY7" fmla="*/ 0 h 732214"/>
                <a:gd name="connsiteX0" fmla="*/ 27021 w 292176"/>
                <a:gd name="connsiteY0" fmla="*/ 0 h 732214"/>
                <a:gd name="connsiteX1" fmla="*/ 208433 w 292176"/>
                <a:gd name="connsiteY1" fmla="*/ 2344 h 732214"/>
                <a:gd name="connsiteX2" fmla="*/ 229071 w 292176"/>
                <a:gd name="connsiteY2" fmla="*/ 605698 h 732214"/>
                <a:gd name="connsiteX3" fmla="*/ 292176 w 292176"/>
                <a:gd name="connsiteY3" fmla="*/ 613076 h 732214"/>
                <a:gd name="connsiteX4" fmla="*/ 135950 w 292176"/>
                <a:gd name="connsiteY4" fmla="*/ 732214 h 732214"/>
                <a:gd name="connsiteX5" fmla="*/ 0 w 292176"/>
                <a:gd name="connsiteY5" fmla="*/ 572588 h 732214"/>
                <a:gd name="connsiteX6" fmla="*/ 60020 w 292176"/>
                <a:gd name="connsiteY6" fmla="*/ 580107 h 732214"/>
                <a:gd name="connsiteX7" fmla="*/ 27021 w 292176"/>
                <a:gd name="connsiteY7" fmla="*/ 0 h 732214"/>
                <a:gd name="connsiteX0" fmla="*/ 27021 w 292176"/>
                <a:gd name="connsiteY0" fmla="*/ 0 h 741880"/>
                <a:gd name="connsiteX1" fmla="*/ 208433 w 292176"/>
                <a:gd name="connsiteY1" fmla="*/ 2344 h 741880"/>
                <a:gd name="connsiteX2" fmla="*/ 229071 w 292176"/>
                <a:gd name="connsiteY2" fmla="*/ 605698 h 741880"/>
                <a:gd name="connsiteX3" fmla="*/ 292176 w 292176"/>
                <a:gd name="connsiteY3" fmla="*/ 613076 h 741880"/>
                <a:gd name="connsiteX4" fmla="*/ 133679 w 292176"/>
                <a:gd name="connsiteY4" fmla="*/ 741880 h 741880"/>
                <a:gd name="connsiteX5" fmla="*/ 0 w 292176"/>
                <a:gd name="connsiteY5" fmla="*/ 572588 h 741880"/>
                <a:gd name="connsiteX6" fmla="*/ 60020 w 292176"/>
                <a:gd name="connsiteY6" fmla="*/ 580107 h 741880"/>
                <a:gd name="connsiteX7" fmla="*/ 27021 w 292176"/>
                <a:gd name="connsiteY7" fmla="*/ 0 h 741880"/>
                <a:gd name="connsiteX0" fmla="*/ 27021 w 292176"/>
                <a:gd name="connsiteY0" fmla="*/ 0 h 741880"/>
                <a:gd name="connsiteX1" fmla="*/ 208433 w 292176"/>
                <a:gd name="connsiteY1" fmla="*/ 2344 h 741880"/>
                <a:gd name="connsiteX2" fmla="*/ 229713 w 292176"/>
                <a:gd name="connsiteY2" fmla="*/ 597792 h 741880"/>
                <a:gd name="connsiteX3" fmla="*/ 292176 w 292176"/>
                <a:gd name="connsiteY3" fmla="*/ 613076 h 741880"/>
                <a:gd name="connsiteX4" fmla="*/ 133679 w 292176"/>
                <a:gd name="connsiteY4" fmla="*/ 741880 h 741880"/>
                <a:gd name="connsiteX5" fmla="*/ 0 w 292176"/>
                <a:gd name="connsiteY5" fmla="*/ 572588 h 741880"/>
                <a:gd name="connsiteX6" fmla="*/ 60020 w 292176"/>
                <a:gd name="connsiteY6" fmla="*/ 580107 h 741880"/>
                <a:gd name="connsiteX7" fmla="*/ 27021 w 292176"/>
                <a:gd name="connsiteY7" fmla="*/ 0 h 741880"/>
                <a:gd name="connsiteX0" fmla="*/ 27021 w 292176"/>
                <a:gd name="connsiteY0" fmla="*/ 0 h 741880"/>
                <a:gd name="connsiteX1" fmla="*/ 219860 w 292176"/>
                <a:gd name="connsiteY1" fmla="*/ 8025 h 741880"/>
                <a:gd name="connsiteX2" fmla="*/ 229713 w 292176"/>
                <a:gd name="connsiteY2" fmla="*/ 597792 h 741880"/>
                <a:gd name="connsiteX3" fmla="*/ 292176 w 292176"/>
                <a:gd name="connsiteY3" fmla="*/ 613076 h 741880"/>
                <a:gd name="connsiteX4" fmla="*/ 133679 w 292176"/>
                <a:gd name="connsiteY4" fmla="*/ 741880 h 741880"/>
                <a:gd name="connsiteX5" fmla="*/ 0 w 292176"/>
                <a:gd name="connsiteY5" fmla="*/ 572588 h 741880"/>
                <a:gd name="connsiteX6" fmla="*/ 60020 w 292176"/>
                <a:gd name="connsiteY6" fmla="*/ 580107 h 741880"/>
                <a:gd name="connsiteX7" fmla="*/ 27021 w 292176"/>
                <a:gd name="connsiteY7" fmla="*/ 0 h 7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176" h="741880">
                  <a:moveTo>
                    <a:pt x="27021" y="0"/>
                  </a:moveTo>
                  <a:lnTo>
                    <a:pt x="219860" y="8025"/>
                  </a:lnTo>
                  <a:cubicBezTo>
                    <a:pt x="280882" y="249963"/>
                    <a:pt x="251380" y="518322"/>
                    <a:pt x="229713" y="597792"/>
                  </a:cubicBezTo>
                  <a:lnTo>
                    <a:pt x="292176" y="613076"/>
                  </a:lnTo>
                  <a:lnTo>
                    <a:pt x="133679" y="741880"/>
                  </a:lnTo>
                  <a:lnTo>
                    <a:pt x="0" y="572588"/>
                  </a:lnTo>
                  <a:lnTo>
                    <a:pt x="60020" y="580107"/>
                  </a:lnTo>
                  <a:cubicBezTo>
                    <a:pt x="75298" y="517510"/>
                    <a:pt x="120241" y="243172"/>
                    <a:pt x="27021" y="0"/>
                  </a:cubicBezTo>
                  <a:close/>
                </a:path>
              </a:pathLst>
            </a:custGeom>
            <a:gradFill>
              <a:gsLst>
                <a:gs pos="19000">
                  <a:srgbClr val="FFFFFF">
                    <a:alpha val="56000"/>
                  </a:srgbClr>
                </a:gs>
                <a:gs pos="35000">
                  <a:srgbClr val="FFFFFF"/>
                </a:gs>
                <a:gs pos="0">
                  <a:srgbClr val="FFFFFF">
                    <a:alpha val="0"/>
                  </a:srgbClr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srgbClr val="000000"/>
                </a:solidFill>
                <a:latin typeface="Open Sans"/>
                <a:cs typeface="Open Sans"/>
              </a:endParaRPr>
            </a:p>
          </p:txBody>
        </p:sp>
        <p:sp>
          <p:nvSpPr>
            <p:cNvPr id="22" name="Curved Down Arrow 32"/>
            <p:cNvSpPr/>
            <p:nvPr>
              <p:custDataLst>
                <p:tags r:id="rId14"/>
              </p:custDataLst>
            </p:nvPr>
          </p:nvSpPr>
          <p:spPr>
            <a:xfrm rot="19274276" flipH="1">
              <a:off x="3643332" y="2559290"/>
              <a:ext cx="332993" cy="628284"/>
            </a:xfrm>
            <a:custGeom>
              <a:avLst/>
              <a:gdLst>
                <a:gd name="connsiteX0" fmla="*/ 0 w 389067"/>
                <a:gd name="connsiteY0" fmla="*/ 14695 h 736470"/>
                <a:gd name="connsiteX1" fmla="*/ 199235 w 389067"/>
                <a:gd name="connsiteY1" fmla="*/ 0 h 736470"/>
                <a:gd name="connsiteX2" fmla="*/ 305209 w 389067"/>
                <a:gd name="connsiteY2" fmla="*/ 580640 h 736470"/>
                <a:gd name="connsiteX3" fmla="*/ 389067 w 389067"/>
                <a:gd name="connsiteY3" fmla="*/ 576035 h 736470"/>
                <a:gd name="connsiteX4" fmla="*/ 214483 w 389067"/>
                <a:gd name="connsiteY4" fmla="*/ 736470 h 736470"/>
                <a:gd name="connsiteX5" fmla="*/ 31683 w 389067"/>
                <a:gd name="connsiteY5" fmla="*/ 593917 h 736470"/>
                <a:gd name="connsiteX6" fmla="*/ 120148 w 389067"/>
                <a:gd name="connsiteY6" fmla="*/ 580640 h 736470"/>
                <a:gd name="connsiteX7" fmla="*/ 0 w 389067"/>
                <a:gd name="connsiteY7" fmla="*/ 14695 h 736470"/>
                <a:gd name="connsiteX0" fmla="*/ 0 w 389067"/>
                <a:gd name="connsiteY0" fmla="*/ 19958 h 741733"/>
                <a:gd name="connsiteX1" fmla="*/ 207380 w 389067"/>
                <a:gd name="connsiteY1" fmla="*/ 0 h 741733"/>
                <a:gd name="connsiteX2" fmla="*/ 305209 w 389067"/>
                <a:gd name="connsiteY2" fmla="*/ 585903 h 741733"/>
                <a:gd name="connsiteX3" fmla="*/ 389067 w 389067"/>
                <a:gd name="connsiteY3" fmla="*/ 581298 h 741733"/>
                <a:gd name="connsiteX4" fmla="*/ 214483 w 389067"/>
                <a:gd name="connsiteY4" fmla="*/ 741733 h 741733"/>
                <a:gd name="connsiteX5" fmla="*/ 31683 w 389067"/>
                <a:gd name="connsiteY5" fmla="*/ 599180 h 741733"/>
                <a:gd name="connsiteX6" fmla="*/ 120148 w 389067"/>
                <a:gd name="connsiteY6" fmla="*/ 585903 h 741733"/>
                <a:gd name="connsiteX7" fmla="*/ 0 w 389067"/>
                <a:gd name="connsiteY7" fmla="*/ 19958 h 741733"/>
                <a:gd name="connsiteX0" fmla="*/ 0 w 368890"/>
                <a:gd name="connsiteY0" fmla="*/ 18947 h 741733"/>
                <a:gd name="connsiteX1" fmla="*/ 187203 w 368890"/>
                <a:gd name="connsiteY1" fmla="*/ 0 h 741733"/>
                <a:gd name="connsiteX2" fmla="*/ 285032 w 368890"/>
                <a:gd name="connsiteY2" fmla="*/ 585903 h 741733"/>
                <a:gd name="connsiteX3" fmla="*/ 368890 w 368890"/>
                <a:gd name="connsiteY3" fmla="*/ 581298 h 741733"/>
                <a:gd name="connsiteX4" fmla="*/ 194306 w 368890"/>
                <a:gd name="connsiteY4" fmla="*/ 741733 h 741733"/>
                <a:gd name="connsiteX5" fmla="*/ 11506 w 368890"/>
                <a:gd name="connsiteY5" fmla="*/ 599180 h 741733"/>
                <a:gd name="connsiteX6" fmla="*/ 99971 w 368890"/>
                <a:gd name="connsiteY6" fmla="*/ 585903 h 741733"/>
                <a:gd name="connsiteX7" fmla="*/ 0 w 368890"/>
                <a:gd name="connsiteY7" fmla="*/ 18947 h 741733"/>
                <a:gd name="connsiteX0" fmla="*/ 0 w 368890"/>
                <a:gd name="connsiteY0" fmla="*/ 4317 h 727103"/>
                <a:gd name="connsiteX1" fmla="*/ 190264 w 368890"/>
                <a:gd name="connsiteY1" fmla="*/ 0 h 727103"/>
                <a:gd name="connsiteX2" fmla="*/ 285032 w 368890"/>
                <a:gd name="connsiteY2" fmla="*/ 571273 h 727103"/>
                <a:gd name="connsiteX3" fmla="*/ 368890 w 368890"/>
                <a:gd name="connsiteY3" fmla="*/ 566668 h 727103"/>
                <a:gd name="connsiteX4" fmla="*/ 194306 w 368890"/>
                <a:gd name="connsiteY4" fmla="*/ 727103 h 727103"/>
                <a:gd name="connsiteX5" fmla="*/ 11506 w 368890"/>
                <a:gd name="connsiteY5" fmla="*/ 584550 h 727103"/>
                <a:gd name="connsiteX6" fmla="*/ 99971 w 368890"/>
                <a:gd name="connsiteY6" fmla="*/ 571273 h 727103"/>
                <a:gd name="connsiteX7" fmla="*/ 0 w 368890"/>
                <a:gd name="connsiteY7" fmla="*/ 4317 h 727103"/>
                <a:gd name="connsiteX0" fmla="*/ 0 w 368890"/>
                <a:gd name="connsiteY0" fmla="*/ 4317 h 727103"/>
                <a:gd name="connsiteX1" fmla="*/ 190264 w 368890"/>
                <a:gd name="connsiteY1" fmla="*/ 0 h 727103"/>
                <a:gd name="connsiteX2" fmla="*/ 285032 w 368890"/>
                <a:gd name="connsiteY2" fmla="*/ 571273 h 727103"/>
                <a:gd name="connsiteX3" fmla="*/ 368890 w 368890"/>
                <a:gd name="connsiteY3" fmla="*/ 566668 h 727103"/>
                <a:gd name="connsiteX4" fmla="*/ 194306 w 368890"/>
                <a:gd name="connsiteY4" fmla="*/ 727103 h 727103"/>
                <a:gd name="connsiteX5" fmla="*/ 11506 w 368890"/>
                <a:gd name="connsiteY5" fmla="*/ 584550 h 727103"/>
                <a:gd name="connsiteX6" fmla="*/ 99971 w 368890"/>
                <a:gd name="connsiteY6" fmla="*/ 571273 h 727103"/>
                <a:gd name="connsiteX7" fmla="*/ 0 w 368890"/>
                <a:gd name="connsiteY7" fmla="*/ 4317 h 727103"/>
                <a:gd name="connsiteX0" fmla="*/ 0 w 368890"/>
                <a:gd name="connsiteY0" fmla="*/ 4317 h 727103"/>
                <a:gd name="connsiteX1" fmla="*/ 190264 w 368890"/>
                <a:gd name="connsiteY1" fmla="*/ 0 h 727103"/>
                <a:gd name="connsiteX2" fmla="*/ 285032 w 368890"/>
                <a:gd name="connsiteY2" fmla="*/ 571273 h 727103"/>
                <a:gd name="connsiteX3" fmla="*/ 368890 w 368890"/>
                <a:gd name="connsiteY3" fmla="*/ 566668 h 727103"/>
                <a:gd name="connsiteX4" fmla="*/ 194306 w 368890"/>
                <a:gd name="connsiteY4" fmla="*/ 727103 h 727103"/>
                <a:gd name="connsiteX5" fmla="*/ 10684 w 368890"/>
                <a:gd name="connsiteY5" fmla="*/ 567704 h 727103"/>
                <a:gd name="connsiteX6" fmla="*/ 99971 w 368890"/>
                <a:gd name="connsiteY6" fmla="*/ 571273 h 727103"/>
                <a:gd name="connsiteX7" fmla="*/ 0 w 368890"/>
                <a:gd name="connsiteY7" fmla="*/ 4317 h 727103"/>
                <a:gd name="connsiteX0" fmla="*/ 0 w 363912"/>
                <a:gd name="connsiteY0" fmla="*/ 4317 h 727103"/>
                <a:gd name="connsiteX1" fmla="*/ 190264 w 363912"/>
                <a:gd name="connsiteY1" fmla="*/ 0 h 727103"/>
                <a:gd name="connsiteX2" fmla="*/ 285032 w 363912"/>
                <a:gd name="connsiteY2" fmla="*/ 571273 h 727103"/>
                <a:gd name="connsiteX3" fmla="*/ 363912 w 363912"/>
                <a:gd name="connsiteY3" fmla="*/ 585949 h 727103"/>
                <a:gd name="connsiteX4" fmla="*/ 194306 w 363912"/>
                <a:gd name="connsiteY4" fmla="*/ 727103 h 727103"/>
                <a:gd name="connsiteX5" fmla="*/ 10684 w 363912"/>
                <a:gd name="connsiteY5" fmla="*/ 567704 h 727103"/>
                <a:gd name="connsiteX6" fmla="*/ 99971 w 363912"/>
                <a:gd name="connsiteY6" fmla="*/ 571273 h 727103"/>
                <a:gd name="connsiteX7" fmla="*/ 0 w 363912"/>
                <a:gd name="connsiteY7" fmla="*/ 4317 h 727103"/>
                <a:gd name="connsiteX0" fmla="*/ 0 w 358113"/>
                <a:gd name="connsiteY0" fmla="*/ 4317 h 727103"/>
                <a:gd name="connsiteX1" fmla="*/ 190264 w 358113"/>
                <a:gd name="connsiteY1" fmla="*/ 0 h 727103"/>
                <a:gd name="connsiteX2" fmla="*/ 285032 w 358113"/>
                <a:gd name="connsiteY2" fmla="*/ 571273 h 727103"/>
                <a:gd name="connsiteX3" fmla="*/ 358113 w 358113"/>
                <a:gd name="connsiteY3" fmla="*/ 588385 h 727103"/>
                <a:gd name="connsiteX4" fmla="*/ 194306 w 358113"/>
                <a:gd name="connsiteY4" fmla="*/ 727103 h 727103"/>
                <a:gd name="connsiteX5" fmla="*/ 10684 w 358113"/>
                <a:gd name="connsiteY5" fmla="*/ 567704 h 727103"/>
                <a:gd name="connsiteX6" fmla="*/ 99971 w 358113"/>
                <a:gd name="connsiteY6" fmla="*/ 571273 h 727103"/>
                <a:gd name="connsiteX7" fmla="*/ 0 w 358113"/>
                <a:gd name="connsiteY7" fmla="*/ 4317 h 727103"/>
                <a:gd name="connsiteX0" fmla="*/ 0 w 358113"/>
                <a:gd name="connsiteY0" fmla="*/ 4317 h 727103"/>
                <a:gd name="connsiteX1" fmla="*/ 190264 w 358113"/>
                <a:gd name="connsiteY1" fmla="*/ 0 h 727103"/>
                <a:gd name="connsiteX2" fmla="*/ 273845 w 358113"/>
                <a:gd name="connsiteY2" fmla="*/ 584567 h 727103"/>
                <a:gd name="connsiteX3" fmla="*/ 358113 w 358113"/>
                <a:gd name="connsiteY3" fmla="*/ 588385 h 727103"/>
                <a:gd name="connsiteX4" fmla="*/ 194306 w 358113"/>
                <a:gd name="connsiteY4" fmla="*/ 727103 h 727103"/>
                <a:gd name="connsiteX5" fmla="*/ 10684 w 358113"/>
                <a:gd name="connsiteY5" fmla="*/ 567704 h 727103"/>
                <a:gd name="connsiteX6" fmla="*/ 99971 w 358113"/>
                <a:gd name="connsiteY6" fmla="*/ 571273 h 727103"/>
                <a:gd name="connsiteX7" fmla="*/ 0 w 358113"/>
                <a:gd name="connsiteY7" fmla="*/ 4317 h 727103"/>
                <a:gd name="connsiteX0" fmla="*/ 0 w 362869"/>
                <a:gd name="connsiteY0" fmla="*/ 4317 h 727103"/>
                <a:gd name="connsiteX1" fmla="*/ 190264 w 362869"/>
                <a:gd name="connsiteY1" fmla="*/ 0 h 727103"/>
                <a:gd name="connsiteX2" fmla="*/ 273845 w 362869"/>
                <a:gd name="connsiteY2" fmla="*/ 584567 h 727103"/>
                <a:gd name="connsiteX3" fmla="*/ 362869 w 362869"/>
                <a:gd name="connsiteY3" fmla="*/ 605011 h 727103"/>
                <a:gd name="connsiteX4" fmla="*/ 194306 w 362869"/>
                <a:gd name="connsiteY4" fmla="*/ 727103 h 727103"/>
                <a:gd name="connsiteX5" fmla="*/ 10684 w 362869"/>
                <a:gd name="connsiteY5" fmla="*/ 567704 h 727103"/>
                <a:gd name="connsiteX6" fmla="*/ 99971 w 362869"/>
                <a:gd name="connsiteY6" fmla="*/ 571273 h 727103"/>
                <a:gd name="connsiteX7" fmla="*/ 0 w 362869"/>
                <a:gd name="connsiteY7" fmla="*/ 4317 h 727103"/>
                <a:gd name="connsiteX0" fmla="*/ 0 w 362869"/>
                <a:gd name="connsiteY0" fmla="*/ 4317 h 727103"/>
                <a:gd name="connsiteX1" fmla="*/ 190264 w 362869"/>
                <a:gd name="connsiteY1" fmla="*/ 0 h 727103"/>
                <a:gd name="connsiteX2" fmla="*/ 273845 w 362869"/>
                <a:gd name="connsiteY2" fmla="*/ 584567 h 727103"/>
                <a:gd name="connsiteX3" fmla="*/ 362869 w 362869"/>
                <a:gd name="connsiteY3" fmla="*/ 605011 h 727103"/>
                <a:gd name="connsiteX4" fmla="*/ 194306 w 362869"/>
                <a:gd name="connsiteY4" fmla="*/ 727103 h 727103"/>
                <a:gd name="connsiteX5" fmla="*/ 22077 w 362869"/>
                <a:gd name="connsiteY5" fmla="*/ 558622 h 727103"/>
                <a:gd name="connsiteX6" fmla="*/ 99971 w 362869"/>
                <a:gd name="connsiteY6" fmla="*/ 571273 h 727103"/>
                <a:gd name="connsiteX7" fmla="*/ 0 w 362869"/>
                <a:gd name="connsiteY7" fmla="*/ 4317 h 727103"/>
                <a:gd name="connsiteX0" fmla="*/ 0 w 362869"/>
                <a:gd name="connsiteY0" fmla="*/ 4317 h 727103"/>
                <a:gd name="connsiteX1" fmla="*/ 190264 w 362869"/>
                <a:gd name="connsiteY1" fmla="*/ 0 h 727103"/>
                <a:gd name="connsiteX2" fmla="*/ 273845 w 362869"/>
                <a:gd name="connsiteY2" fmla="*/ 584567 h 727103"/>
                <a:gd name="connsiteX3" fmla="*/ 362869 w 362869"/>
                <a:gd name="connsiteY3" fmla="*/ 605011 h 727103"/>
                <a:gd name="connsiteX4" fmla="*/ 194306 w 362869"/>
                <a:gd name="connsiteY4" fmla="*/ 727103 h 727103"/>
                <a:gd name="connsiteX5" fmla="*/ 24763 w 362869"/>
                <a:gd name="connsiteY5" fmla="*/ 573252 h 727103"/>
                <a:gd name="connsiteX6" fmla="*/ 99971 w 362869"/>
                <a:gd name="connsiteY6" fmla="*/ 571273 h 727103"/>
                <a:gd name="connsiteX7" fmla="*/ 0 w 362869"/>
                <a:gd name="connsiteY7" fmla="*/ 4317 h 727103"/>
                <a:gd name="connsiteX0" fmla="*/ 0 w 359346"/>
                <a:gd name="connsiteY0" fmla="*/ 4317 h 727103"/>
                <a:gd name="connsiteX1" fmla="*/ 190264 w 359346"/>
                <a:gd name="connsiteY1" fmla="*/ 0 h 727103"/>
                <a:gd name="connsiteX2" fmla="*/ 273845 w 359346"/>
                <a:gd name="connsiteY2" fmla="*/ 584567 h 727103"/>
                <a:gd name="connsiteX3" fmla="*/ 359346 w 359346"/>
                <a:gd name="connsiteY3" fmla="*/ 613653 h 727103"/>
                <a:gd name="connsiteX4" fmla="*/ 194306 w 359346"/>
                <a:gd name="connsiteY4" fmla="*/ 727103 h 727103"/>
                <a:gd name="connsiteX5" fmla="*/ 24763 w 359346"/>
                <a:gd name="connsiteY5" fmla="*/ 573252 h 727103"/>
                <a:gd name="connsiteX6" fmla="*/ 99971 w 359346"/>
                <a:gd name="connsiteY6" fmla="*/ 571273 h 727103"/>
                <a:gd name="connsiteX7" fmla="*/ 0 w 359346"/>
                <a:gd name="connsiteY7" fmla="*/ 4317 h 727103"/>
                <a:gd name="connsiteX0" fmla="*/ 0 w 359346"/>
                <a:gd name="connsiteY0" fmla="*/ 2982 h 725768"/>
                <a:gd name="connsiteX1" fmla="*/ 204137 w 359346"/>
                <a:gd name="connsiteY1" fmla="*/ 0 h 725768"/>
                <a:gd name="connsiteX2" fmla="*/ 273845 w 359346"/>
                <a:gd name="connsiteY2" fmla="*/ 583232 h 725768"/>
                <a:gd name="connsiteX3" fmla="*/ 359346 w 359346"/>
                <a:gd name="connsiteY3" fmla="*/ 612318 h 725768"/>
                <a:gd name="connsiteX4" fmla="*/ 194306 w 359346"/>
                <a:gd name="connsiteY4" fmla="*/ 725768 h 725768"/>
                <a:gd name="connsiteX5" fmla="*/ 24763 w 359346"/>
                <a:gd name="connsiteY5" fmla="*/ 571917 h 725768"/>
                <a:gd name="connsiteX6" fmla="*/ 99971 w 359346"/>
                <a:gd name="connsiteY6" fmla="*/ 569938 h 725768"/>
                <a:gd name="connsiteX7" fmla="*/ 0 w 359346"/>
                <a:gd name="connsiteY7" fmla="*/ 2982 h 725768"/>
                <a:gd name="connsiteX0" fmla="*/ 0 w 357639"/>
                <a:gd name="connsiteY0" fmla="*/ 2982 h 725768"/>
                <a:gd name="connsiteX1" fmla="*/ 204137 w 357639"/>
                <a:gd name="connsiteY1" fmla="*/ 0 h 725768"/>
                <a:gd name="connsiteX2" fmla="*/ 273845 w 357639"/>
                <a:gd name="connsiteY2" fmla="*/ 583232 h 725768"/>
                <a:gd name="connsiteX3" fmla="*/ 357639 w 357639"/>
                <a:gd name="connsiteY3" fmla="*/ 607662 h 725768"/>
                <a:gd name="connsiteX4" fmla="*/ 194306 w 357639"/>
                <a:gd name="connsiteY4" fmla="*/ 725768 h 725768"/>
                <a:gd name="connsiteX5" fmla="*/ 24763 w 357639"/>
                <a:gd name="connsiteY5" fmla="*/ 571917 h 725768"/>
                <a:gd name="connsiteX6" fmla="*/ 99971 w 357639"/>
                <a:gd name="connsiteY6" fmla="*/ 569938 h 725768"/>
                <a:gd name="connsiteX7" fmla="*/ 0 w 357639"/>
                <a:gd name="connsiteY7" fmla="*/ 2982 h 725768"/>
                <a:gd name="connsiteX0" fmla="*/ 0 w 357639"/>
                <a:gd name="connsiteY0" fmla="*/ 2982 h 725768"/>
                <a:gd name="connsiteX1" fmla="*/ 204137 w 357639"/>
                <a:gd name="connsiteY1" fmla="*/ 0 h 725768"/>
                <a:gd name="connsiteX2" fmla="*/ 266853 w 357639"/>
                <a:gd name="connsiteY2" fmla="*/ 591541 h 725768"/>
                <a:gd name="connsiteX3" fmla="*/ 357639 w 357639"/>
                <a:gd name="connsiteY3" fmla="*/ 607662 h 725768"/>
                <a:gd name="connsiteX4" fmla="*/ 194306 w 357639"/>
                <a:gd name="connsiteY4" fmla="*/ 725768 h 725768"/>
                <a:gd name="connsiteX5" fmla="*/ 24763 w 357639"/>
                <a:gd name="connsiteY5" fmla="*/ 571917 h 725768"/>
                <a:gd name="connsiteX6" fmla="*/ 99971 w 357639"/>
                <a:gd name="connsiteY6" fmla="*/ 569938 h 725768"/>
                <a:gd name="connsiteX7" fmla="*/ 0 w 357639"/>
                <a:gd name="connsiteY7" fmla="*/ 2982 h 725768"/>
                <a:gd name="connsiteX0" fmla="*/ 0 w 353136"/>
                <a:gd name="connsiteY0" fmla="*/ 2982 h 725768"/>
                <a:gd name="connsiteX1" fmla="*/ 204137 w 353136"/>
                <a:gd name="connsiteY1" fmla="*/ 0 h 725768"/>
                <a:gd name="connsiteX2" fmla="*/ 266853 w 353136"/>
                <a:gd name="connsiteY2" fmla="*/ 591541 h 725768"/>
                <a:gd name="connsiteX3" fmla="*/ 353136 w 353136"/>
                <a:gd name="connsiteY3" fmla="*/ 606330 h 725768"/>
                <a:gd name="connsiteX4" fmla="*/ 194306 w 353136"/>
                <a:gd name="connsiteY4" fmla="*/ 725768 h 725768"/>
                <a:gd name="connsiteX5" fmla="*/ 24763 w 353136"/>
                <a:gd name="connsiteY5" fmla="*/ 571917 h 725768"/>
                <a:gd name="connsiteX6" fmla="*/ 99971 w 353136"/>
                <a:gd name="connsiteY6" fmla="*/ 569938 h 725768"/>
                <a:gd name="connsiteX7" fmla="*/ 0 w 353136"/>
                <a:gd name="connsiteY7" fmla="*/ 2982 h 725768"/>
                <a:gd name="connsiteX0" fmla="*/ 0 w 353136"/>
                <a:gd name="connsiteY0" fmla="*/ 2982 h 737458"/>
                <a:gd name="connsiteX1" fmla="*/ 204137 w 353136"/>
                <a:gd name="connsiteY1" fmla="*/ 0 h 737458"/>
                <a:gd name="connsiteX2" fmla="*/ 266853 w 353136"/>
                <a:gd name="connsiteY2" fmla="*/ 591541 h 737458"/>
                <a:gd name="connsiteX3" fmla="*/ 353136 w 353136"/>
                <a:gd name="connsiteY3" fmla="*/ 606330 h 737458"/>
                <a:gd name="connsiteX4" fmla="*/ 166471 w 353136"/>
                <a:gd name="connsiteY4" fmla="*/ 737458 h 737458"/>
                <a:gd name="connsiteX5" fmla="*/ 24763 w 353136"/>
                <a:gd name="connsiteY5" fmla="*/ 571917 h 737458"/>
                <a:gd name="connsiteX6" fmla="*/ 99971 w 353136"/>
                <a:gd name="connsiteY6" fmla="*/ 569938 h 737458"/>
                <a:gd name="connsiteX7" fmla="*/ 0 w 353136"/>
                <a:gd name="connsiteY7" fmla="*/ 2982 h 737458"/>
                <a:gd name="connsiteX0" fmla="*/ 0 w 353136"/>
                <a:gd name="connsiteY0" fmla="*/ 2982 h 735631"/>
                <a:gd name="connsiteX1" fmla="*/ 204137 w 353136"/>
                <a:gd name="connsiteY1" fmla="*/ 0 h 735631"/>
                <a:gd name="connsiteX2" fmla="*/ 266853 w 353136"/>
                <a:gd name="connsiteY2" fmla="*/ 591541 h 735631"/>
                <a:gd name="connsiteX3" fmla="*/ 353136 w 353136"/>
                <a:gd name="connsiteY3" fmla="*/ 606330 h 735631"/>
                <a:gd name="connsiteX4" fmla="*/ 170819 w 353136"/>
                <a:gd name="connsiteY4" fmla="*/ 735631 h 735631"/>
                <a:gd name="connsiteX5" fmla="*/ 24763 w 353136"/>
                <a:gd name="connsiteY5" fmla="*/ 571917 h 735631"/>
                <a:gd name="connsiteX6" fmla="*/ 99971 w 353136"/>
                <a:gd name="connsiteY6" fmla="*/ 569938 h 735631"/>
                <a:gd name="connsiteX7" fmla="*/ 0 w 353136"/>
                <a:gd name="connsiteY7" fmla="*/ 2982 h 735631"/>
                <a:gd name="connsiteX0" fmla="*/ 0 w 353136"/>
                <a:gd name="connsiteY0" fmla="*/ 2982 h 735631"/>
                <a:gd name="connsiteX1" fmla="*/ 204137 w 353136"/>
                <a:gd name="connsiteY1" fmla="*/ 0 h 735631"/>
                <a:gd name="connsiteX2" fmla="*/ 266853 w 353136"/>
                <a:gd name="connsiteY2" fmla="*/ 591541 h 735631"/>
                <a:gd name="connsiteX3" fmla="*/ 353136 w 353136"/>
                <a:gd name="connsiteY3" fmla="*/ 606330 h 735631"/>
                <a:gd name="connsiteX4" fmla="*/ 170819 w 353136"/>
                <a:gd name="connsiteY4" fmla="*/ 735631 h 735631"/>
                <a:gd name="connsiteX5" fmla="*/ 24763 w 353136"/>
                <a:gd name="connsiteY5" fmla="*/ 571917 h 735631"/>
                <a:gd name="connsiteX6" fmla="*/ 94224 w 353136"/>
                <a:gd name="connsiteY6" fmla="*/ 573426 h 735631"/>
                <a:gd name="connsiteX7" fmla="*/ 0 w 353136"/>
                <a:gd name="connsiteY7" fmla="*/ 2982 h 735631"/>
                <a:gd name="connsiteX0" fmla="*/ 0 w 353136"/>
                <a:gd name="connsiteY0" fmla="*/ 2982 h 735631"/>
                <a:gd name="connsiteX1" fmla="*/ 204137 w 353136"/>
                <a:gd name="connsiteY1" fmla="*/ 0 h 735631"/>
                <a:gd name="connsiteX2" fmla="*/ 266853 w 353136"/>
                <a:gd name="connsiteY2" fmla="*/ 591541 h 735631"/>
                <a:gd name="connsiteX3" fmla="*/ 353136 w 353136"/>
                <a:gd name="connsiteY3" fmla="*/ 606330 h 735631"/>
                <a:gd name="connsiteX4" fmla="*/ 170819 w 353136"/>
                <a:gd name="connsiteY4" fmla="*/ 735631 h 735631"/>
                <a:gd name="connsiteX5" fmla="*/ 21811 w 353136"/>
                <a:gd name="connsiteY5" fmla="*/ 572082 h 735631"/>
                <a:gd name="connsiteX6" fmla="*/ 94224 w 353136"/>
                <a:gd name="connsiteY6" fmla="*/ 573426 h 735631"/>
                <a:gd name="connsiteX7" fmla="*/ 0 w 353136"/>
                <a:gd name="connsiteY7" fmla="*/ 2982 h 735631"/>
                <a:gd name="connsiteX0" fmla="*/ 0 w 353136"/>
                <a:gd name="connsiteY0" fmla="*/ 2982 h 735631"/>
                <a:gd name="connsiteX1" fmla="*/ 204137 w 353136"/>
                <a:gd name="connsiteY1" fmla="*/ 0 h 735631"/>
                <a:gd name="connsiteX2" fmla="*/ 266853 w 353136"/>
                <a:gd name="connsiteY2" fmla="*/ 591541 h 735631"/>
                <a:gd name="connsiteX3" fmla="*/ 353136 w 353136"/>
                <a:gd name="connsiteY3" fmla="*/ 606330 h 735631"/>
                <a:gd name="connsiteX4" fmla="*/ 170819 w 353136"/>
                <a:gd name="connsiteY4" fmla="*/ 735631 h 735631"/>
                <a:gd name="connsiteX5" fmla="*/ 21811 w 353136"/>
                <a:gd name="connsiteY5" fmla="*/ 572082 h 735631"/>
                <a:gd name="connsiteX6" fmla="*/ 94224 w 353136"/>
                <a:gd name="connsiteY6" fmla="*/ 573426 h 735631"/>
                <a:gd name="connsiteX7" fmla="*/ 0 w 353136"/>
                <a:gd name="connsiteY7" fmla="*/ 2982 h 735631"/>
                <a:gd name="connsiteX0" fmla="*/ 29959 w 331325"/>
                <a:gd name="connsiteY0" fmla="*/ 0 h 735702"/>
                <a:gd name="connsiteX1" fmla="*/ 182326 w 331325"/>
                <a:gd name="connsiteY1" fmla="*/ 71 h 735702"/>
                <a:gd name="connsiteX2" fmla="*/ 245042 w 331325"/>
                <a:gd name="connsiteY2" fmla="*/ 591612 h 735702"/>
                <a:gd name="connsiteX3" fmla="*/ 331325 w 331325"/>
                <a:gd name="connsiteY3" fmla="*/ 606401 h 735702"/>
                <a:gd name="connsiteX4" fmla="*/ 149008 w 331325"/>
                <a:gd name="connsiteY4" fmla="*/ 735702 h 735702"/>
                <a:gd name="connsiteX5" fmla="*/ 0 w 331325"/>
                <a:gd name="connsiteY5" fmla="*/ 572153 h 735702"/>
                <a:gd name="connsiteX6" fmla="*/ 72413 w 331325"/>
                <a:gd name="connsiteY6" fmla="*/ 573497 h 735702"/>
                <a:gd name="connsiteX7" fmla="*/ 29959 w 331325"/>
                <a:gd name="connsiteY7" fmla="*/ 0 h 735702"/>
                <a:gd name="connsiteX0" fmla="*/ 29959 w 331325"/>
                <a:gd name="connsiteY0" fmla="*/ 0 h 735702"/>
                <a:gd name="connsiteX1" fmla="*/ 182326 w 331325"/>
                <a:gd name="connsiteY1" fmla="*/ 71 h 735702"/>
                <a:gd name="connsiteX2" fmla="*/ 245042 w 331325"/>
                <a:gd name="connsiteY2" fmla="*/ 591612 h 735702"/>
                <a:gd name="connsiteX3" fmla="*/ 331325 w 331325"/>
                <a:gd name="connsiteY3" fmla="*/ 606401 h 735702"/>
                <a:gd name="connsiteX4" fmla="*/ 149008 w 331325"/>
                <a:gd name="connsiteY4" fmla="*/ 735702 h 735702"/>
                <a:gd name="connsiteX5" fmla="*/ 0 w 331325"/>
                <a:gd name="connsiteY5" fmla="*/ 572153 h 735702"/>
                <a:gd name="connsiteX6" fmla="*/ 72413 w 331325"/>
                <a:gd name="connsiteY6" fmla="*/ 573497 h 735702"/>
                <a:gd name="connsiteX7" fmla="*/ 29959 w 331325"/>
                <a:gd name="connsiteY7" fmla="*/ 0 h 735702"/>
                <a:gd name="connsiteX0" fmla="*/ 29959 w 331325"/>
                <a:gd name="connsiteY0" fmla="*/ 0 h 735702"/>
                <a:gd name="connsiteX1" fmla="*/ 209742 w 331325"/>
                <a:gd name="connsiteY1" fmla="*/ 4105 h 735702"/>
                <a:gd name="connsiteX2" fmla="*/ 245042 w 331325"/>
                <a:gd name="connsiteY2" fmla="*/ 591612 h 735702"/>
                <a:gd name="connsiteX3" fmla="*/ 331325 w 331325"/>
                <a:gd name="connsiteY3" fmla="*/ 606401 h 735702"/>
                <a:gd name="connsiteX4" fmla="*/ 149008 w 331325"/>
                <a:gd name="connsiteY4" fmla="*/ 735702 h 735702"/>
                <a:gd name="connsiteX5" fmla="*/ 0 w 331325"/>
                <a:gd name="connsiteY5" fmla="*/ 572153 h 735702"/>
                <a:gd name="connsiteX6" fmla="*/ 72413 w 331325"/>
                <a:gd name="connsiteY6" fmla="*/ 573497 h 735702"/>
                <a:gd name="connsiteX7" fmla="*/ 29959 w 331325"/>
                <a:gd name="connsiteY7" fmla="*/ 0 h 735702"/>
                <a:gd name="connsiteX0" fmla="*/ 29959 w 331325"/>
                <a:gd name="connsiteY0" fmla="*/ 0 h 735702"/>
                <a:gd name="connsiteX1" fmla="*/ 221491 w 331325"/>
                <a:gd name="connsiteY1" fmla="*/ 5832 h 735702"/>
                <a:gd name="connsiteX2" fmla="*/ 245042 w 331325"/>
                <a:gd name="connsiteY2" fmla="*/ 591612 h 735702"/>
                <a:gd name="connsiteX3" fmla="*/ 331325 w 331325"/>
                <a:gd name="connsiteY3" fmla="*/ 606401 h 735702"/>
                <a:gd name="connsiteX4" fmla="*/ 149008 w 331325"/>
                <a:gd name="connsiteY4" fmla="*/ 735702 h 735702"/>
                <a:gd name="connsiteX5" fmla="*/ 0 w 331325"/>
                <a:gd name="connsiteY5" fmla="*/ 572153 h 735702"/>
                <a:gd name="connsiteX6" fmla="*/ 72413 w 331325"/>
                <a:gd name="connsiteY6" fmla="*/ 573497 h 735702"/>
                <a:gd name="connsiteX7" fmla="*/ 29959 w 331325"/>
                <a:gd name="connsiteY7" fmla="*/ 0 h 735702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40079 w 331325"/>
                <a:gd name="connsiteY0" fmla="*/ 0 h 732214"/>
                <a:gd name="connsiteX1" fmla="*/ 221491 w 331325"/>
                <a:gd name="connsiteY1" fmla="*/ 2344 h 732214"/>
                <a:gd name="connsiteX2" fmla="*/ 245042 w 331325"/>
                <a:gd name="connsiteY2" fmla="*/ 588124 h 732214"/>
                <a:gd name="connsiteX3" fmla="*/ 331325 w 331325"/>
                <a:gd name="connsiteY3" fmla="*/ 602913 h 732214"/>
                <a:gd name="connsiteX4" fmla="*/ 149008 w 331325"/>
                <a:gd name="connsiteY4" fmla="*/ 732214 h 732214"/>
                <a:gd name="connsiteX5" fmla="*/ 0 w 331325"/>
                <a:gd name="connsiteY5" fmla="*/ 568665 h 732214"/>
                <a:gd name="connsiteX6" fmla="*/ 72413 w 331325"/>
                <a:gd name="connsiteY6" fmla="*/ 570009 h 732214"/>
                <a:gd name="connsiteX7" fmla="*/ 40079 w 331325"/>
                <a:gd name="connsiteY7" fmla="*/ 0 h 732214"/>
                <a:gd name="connsiteX0" fmla="*/ 25713 w 316959"/>
                <a:gd name="connsiteY0" fmla="*/ 0 h 732214"/>
                <a:gd name="connsiteX1" fmla="*/ 207125 w 316959"/>
                <a:gd name="connsiteY1" fmla="*/ 2344 h 732214"/>
                <a:gd name="connsiteX2" fmla="*/ 230676 w 316959"/>
                <a:gd name="connsiteY2" fmla="*/ 588124 h 732214"/>
                <a:gd name="connsiteX3" fmla="*/ 316959 w 316959"/>
                <a:gd name="connsiteY3" fmla="*/ 602913 h 732214"/>
                <a:gd name="connsiteX4" fmla="*/ 134642 w 316959"/>
                <a:gd name="connsiteY4" fmla="*/ 732214 h 732214"/>
                <a:gd name="connsiteX5" fmla="*/ 0 w 316959"/>
                <a:gd name="connsiteY5" fmla="*/ 574780 h 732214"/>
                <a:gd name="connsiteX6" fmla="*/ 58047 w 316959"/>
                <a:gd name="connsiteY6" fmla="*/ 570009 h 732214"/>
                <a:gd name="connsiteX7" fmla="*/ 25713 w 316959"/>
                <a:gd name="connsiteY7" fmla="*/ 0 h 732214"/>
                <a:gd name="connsiteX0" fmla="*/ 25713 w 290868"/>
                <a:gd name="connsiteY0" fmla="*/ 0 h 732214"/>
                <a:gd name="connsiteX1" fmla="*/ 207125 w 290868"/>
                <a:gd name="connsiteY1" fmla="*/ 2344 h 732214"/>
                <a:gd name="connsiteX2" fmla="*/ 230676 w 290868"/>
                <a:gd name="connsiteY2" fmla="*/ 588124 h 732214"/>
                <a:gd name="connsiteX3" fmla="*/ 290868 w 290868"/>
                <a:gd name="connsiteY3" fmla="*/ 613076 h 732214"/>
                <a:gd name="connsiteX4" fmla="*/ 134642 w 290868"/>
                <a:gd name="connsiteY4" fmla="*/ 732214 h 732214"/>
                <a:gd name="connsiteX5" fmla="*/ 0 w 290868"/>
                <a:gd name="connsiteY5" fmla="*/ 574780 h 732214"/>
                <a:gd name="connsiteX6" fmla="*/ 58047 w 290868"/>
                <a:gd name="connsiteY6" fmla="*/ 570009 h 732214"/>
                <a:gd name="connsiteX7" fmla="*/ 25713 w 290868"/>
                <a:gd name="connsiteY7" fmla="*/ 0 h 732214"/>
                <a:gd name="connsiteX0" fmla="*/ 25713 w 290868"/>
                <a:gd name="connsiteY0" fmla="*/ 0 h 732214"/>
                <a:gd name="connsiteX1" fmla="*/ 207125 w 290868"/>
                <a:gd name="connsiteY1" fmla="*/ 2344 h 732214"/>
                <a:gd name="connsiteX2" fmla="*/ 230676 w 290868"/>
                <a:gd name="connsiteY2" fmla="*/ 588124 h 732214"/>
                <a:gd name="connsiteX3" fmla="*/ 290868 w 290868"/>
                <a:gd name="connsiteY3" fmla="*/ 613076 h 732214"/>
                <a:gd name="connsiteX4" fmla="*/ 134642 w 290868"/>
                <a:gd name="connsiteY4" fmla="*/ 732214 h 732214"/>
                <a:gd name="connsiteX5" fmla="*/ 0 w 290868"/>
                <a:gd name="connsiteY5" fmla="*/ 574780 h 732214"/>
                <a:gd name="connsiteX6" fmla="*/ 58712 w 290868"/>
                <a:gd name="connsiteY6" fmla="*/ 580107 h 732214"/>
                <a:gd name="connsiteX7" fmla="*/ 25713 w 290868"/>
                <a:gd name="connsiteY7" fmla="*/ 0 h 732214"/>
                <a:gd name="connsiteX0" fmla="*/ 25713 w 290868"/>
                <a:gd name="connsiteY0" fmla="*/ 0 h 732214"/>
                <a:gd name="connsiteX1" fmla="*/ 207125 w 290868"/>
                <a:gd name="connsiteY1" fmla="*/ 2344 h 732214"/>
                <a:gd name="connsiteX2" fmla="*/ 227763 w 290868"/>
                <a:gd name="connsiteY2" fmla="*/ 605698 h 732214"/>
                <a:gd name="connsiteX3" fmla="*/ 290868 w 290868"/>
                <a:gd name="connsiteY3" fmla="*/ 613076 h 732214"/>
                <a:gd name="connsiteX4" fmla="*/ 134642 w 290868"/>
                <a:gd name="connsiteY4" fmla="*/ 732214 h 732214"/>
                <a:gd name="connsiteX5" fmla="*/ 0 w 290868"/>
                <a:gd name="connsiteY5" fmla="*/ 574780 h 732214"/>
                <a:gd name="connsiteX6" fmla="*/ 58712 w 290868"/>
                <a:gd name="connsiteY6" fmla="*/ 580107 h 732214"/>
                <a:gd name="connsiteX7" fmla="*/ 25713 w 290868"/>
                <a:gd name="connsiteY7" fmla="*/ 0 h 732214"/>
                <a:gd name="connsiteX0" fmla="*/ 27021 w 292176"/>
                <a:gd name="connsiteY0" fmla="*/ 0 h 732214"/>
                <a:gd name="connsiteX1" fmla="*/ 208433 w 292176"/>
                <a:gd name="connsiteY1" fmla="*/ 2344 h 732214"/>
                <a:gd name="connsiteX2" fmla="*/ 229071 w 292176"/>
                <a:gd name="connsiteY2" fmla="*/ 605698 h 732214"/>
                <a:gd name="connsiteX3" fmla="*/ 292176 w 292176"/>
                <a:gd name="connsiteY3" fmla="*/ 613076 h 732214"/>
                <a:gd name="connsiteX4" fmla="*/ 135950 w 292176"/>
                <a:gd name="connsiteY4" fmla="*/ 732214 h 732214"/>
                <a:gd name="connsiteX5" fmla="*/ 0 w 292176"/>
                <a:gd name="connsiteY5" fmla="*/ 572588 h 732214"/>
                <a:gd name="connsiteX6" fmla="*/ 60020 w 292176"/>
                <a:gd name="connsiteY6" fmla="*/ 580107 h 732214"/>
                <a:gd name="connsiteX7" fmla="*/ 27021 w 292176"/>
                <a:gd name="connsiteY7" fmla="*/ 0 h 732214"/>
                <a:gd name="connsiteX0" fmla="*/ 27021 w 292176"/>
                <a:gd name="connsiteY0" fmla="*/ 0 h 741880"/>
                <a:gd name="connsiteX1" fmla="*/ 208433 w 292176"/>
                <a:gd name="connsiteY1" fmla="*/ 2344 h 741880"/>
                <a:gd name="connsiteX2" fmla="*/ 229071 w 292176"/>
                <a:gd name="connsiteY2" fmla="*/ 605698 h 741880"/>
                <a:gd name="connsiteX3" fmla="*/ 292176 w 292176"/>
                <a:gd name="connsiteY3" fmla="*/ 613076 h 741880"/>
                <a:gd name="connsiteX4" fmla="*/ 133679 w 292176"/>
                <a:gd name="connsiteY4" fmla="*/ 741880 h 741880"/>
                <a:gd name="connsiteX5" fmla="*/ 0 w 292176"/>
                <a:gd name="connsiteY5" fmla="*/ 572588 h 741880"/>
                <a:gd name="connsiteX6" fmla="*/ 60020 w 292176"/>
                <a:gd name="connsiteY6" fmla="*/ 580107 h 741880"/>
                <a:gd name="connsiteX7" fmla="*/ 27021 w 292176"/>
                <a:gd name="connsiteY7" fmla="*/ 0 h 741880"/>
                <a:gd name="connsiteX0" fmla="*/ 27021 w 292176"/>
                <a:gd name="connsiteY0" fmla="*/ 0 h 741880"/>
                <a:gd name="connsiteX1" fmla="*/ 208433 w 292176"/>
                <a:gd name="connsiteY1" fmla="*/ 2344 h 741880"/>
                <a:gd name="connsiteX2" fmla="*/ 229713 w 292176"/>
                <a:gd name="connsiteY2" fmla="*/ 597792 h 741880"/>
                <a:gd name="connsiteX3" fmla="*/ 292176 w 292176"/>
                <a:gd name="connsiteY3" fmla="*/ 613076 h 741880"/>
                <a:gd name="connsiteX4" fmla="*/ 133679 w 292176"/>
                <a:gd name="connsiteY4" fmla="*/ 741880 h 741880"/>
                <a:gd name="connsiteX5" fmla="*/ 0 w 292176"/>
                <a:gd name="connsiteY5" fmla="*/ 572588 h 741880"/>
                <a:gd name="connsiteX6" fmla="*/ 60020 w 292176"/>
                <a:gd name="connsiteY6" fmla="*/ 580107 h 741880"/>
                <a:gd name="connsiteX7" fmla="*/ 27021 w 292176"/>
                <a:gd name="connsiteY7" fmla="*/ 0 h 741880"/>
                <a:gd name="connsiteX0" fmla="*/ 27021 w 292176"/>
                <a:gd name="connsiteY0" fmla="*/ 0 h 741880"/>
                <a:gd name="connsiteX1" fmla="*/ 219860 w 292176"/>
                <a:gd name="connsiteY1" fmla="*/ 8025 h 741880"/>
                <a:gd name="connsiteX2" fmla="*/ 229713 w 292176"/>
                <a:gd name="connsiteY2" fmla="*/ 597792 h 741880"/>
                <a:gd name="connsiteX3" fmla="*/ 292176 w 292176"/>
                <a:gd name="connsiteY3" fmla="*/ 613076 h 741880"/>
                <a:gd name="connsiteX4" fmla="*/ 133679 w 292176"/>
                <a:gd name="connsiteY4" fmla="*/ 741880 h 741880"/>
                <a:gd name="connsiteX5" fmla="*/ 0 w 292176"/>
                <a:gd name="connsiteY5" fmla="*/ 572588 h 741880"/>
                <a:gd name="connsiteX6" fmla="*/ 60020 w 292176"/>
                <a:gd name="connsiteY6" fmla="*/ 580107 h 741880"/>
                <a:gd name="connsiteX7" fmla="*/ 27021 w 292176"/>
                <a:gd name="connsiteY7" fmla="*/ 0 h 74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176" h="741880">
                  <a:moveTo>
                    <a:pt x="27021" y="0"/>
                  </a:moveTo>
                  <a:lnTo>
                    <a:pt x="219860" y="8025"/>
                  </a:lnTo>
                  <a:cubicBezTo>
                    <a:pt x="280882" y="249963"/>
                    <a:pt x="251380" y="518322"/>
                    <a:pt x="229713" y="597792"/>
                  </a:cubicBezTo>
                  <a:lnTo>
                    <a:pt x="292176" y="613076"/>
                  </a:lnTo>
                  <a:lnTo>
                    <a:pt x="133679" y="741880"/>
                  </a:lnTo>
                  <a:lnTo>
                    <a:pt x="0" y="572588"/>
                  </a:lnTo>
                  <a:lnTo>
                    <a:pt x="60020" y="580107"/>
                  </a:lnTo>
                  <a:cubicBezTo>
                    <a:pt x="75298" y="517510"/>
                    <a:pt x="120241" y="243172"/>
                    <a:pt x="27021" y="0"/>
                  </a:cubicBezTo>
                  <a:close/>
                </a:path>
              </a:pathLst>
            </a:custGeom>
            <a:gradFill>
              <a:gsLst>
                <a:gs pos="19000">
                  <a:srgbClr val="FFFFFF">
                    <a:alpha val="56000"/>
                  </a:srgbClr>
                </a:gs>
                <a:gs pos="35000">
                  <a:srgbClr val="FFFFFF"/>
                </a:gs>
                <a:gs pos="0">
                  <a:srgbClr val="FFFFFF">
                    <a:alpha val="0"/>
                  </a:srgbClr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srgbClr val="000000"/>
                </a:solidFill>
                <a:latin typeface="Open Sans"/>
                <a:cs typeface="Open Sans"/>
              </a:endParaRPr>
            </a:p>
          </p:txBody>
        </p:sp>
      </p:grpSp>
      <p:grpSp>
        <p:nvGrpSpPr>
          <p:cNvPr id="23" name="Group 4"/>
          <p:cNvGrpSpPr/>
          <p:nvPr/>
        </p:nvGrpSpPr>
        <p:grpSpPr>
          <a:xfrm>
            <a:off x="5415602" y="2076558"/>
            <a:ext cx="2835305" cy="1026114"/>
            <a:chOff x="5458841" y="1055940"/>
            <a:chExt cx="2835305" cy="1026114"/>
          </a:xfrm>
        </p:grpSpPr>
        <p:sp>
          <p:nvSpPr>
            <p:cNvPr id="24" name="Rounded Rectangle 71"/>
            <p:cNvSpPr/>
            <p:nvPr/>
          </p:nvSpPr>
          <p:spPr>
            <a:xfrm>
              <a:off x="6363378" y="1055940"/>
              <a:ext cx="1930768" cy="1026114"/>
            </a:xfrm>
            <a:prstGeom prst="roundRect">
              <a:avLst>
                <a:gd name="adj" fmla="val 10241"/>
              </a:avLst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75000"/>
                    <a:alpha val="22000"/>
                  </a:schemeClr>
                </a:gs>
              </a:gsLst>
              <a:lin ang="5580000" scaled="0"/>
              <a:tileRect/>
            </a:gradFill>
            <a:ln>
              <a:solidFill>
                <a:schemeClr val="bg1">
                  <a:lumMod val="65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>
              <a:bevelT w="25400" h="25400"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110000"/>
                </a:lnSpc>
                <a:buClr>
                  <a:srgbClr val="000000">
                    <a:lumMod val="50000"/>
                    <a:lumOff val="50000"/>
                  </a:srgbClr>
                </a:buClr>
                <a:buSzPct val="100000"/>
                <a:defRPr/>
              </a:pPr>
              <a:r>
                <a:rPr lang="en-US" kern="0" dirty="0">
                  <a:solidFill>
                    <a:schemeClr val="tx1"/>
                  </a:solidFill>
                  <a:cs typeface="Open Sans"/>
                </a:rPr>
                <a:t> 30 – 75% </a:t>
              </a:r>
              <a:r>
                <a:rPr lang="en-US" kern="0" dirty="0" smtClean="0">
                  <a:solidFill>
                    <a:schemeClr val="tx1"/>
                  </a:solidFill>
                  <a:cs typeface="Open Sans"/>
                </a:rPr>
                <a:t>faster time to market</a:t>
              </a:r>
              <a:endParaRPr lang="en-US" kern="0" dirty="0">
                <a:solidFill>
                  <a:schemeClr val="tx1"/>
                </a:solidFill>
                <a:cs typeface="Open Sans"/>
              </a:endParaRPr>
            </a:p>
          </p:txBody>
        </p:sp>
        <p:cxnSp>
          <p:nvCxnSpPr>
            <p:cNvPr id="25" name="Straight Connector 73"/>
            <p:cNvCxnSpPr/>
            <p:nvPr/>
          </p:nvCxnSpPr>
          <p:spPr bwMode="auto">
            <a:xfrm>
              <a:off x="5458841" y="1487988"/>
              <a:ext cx="904538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5"/>
              </a:solidFill>
              <a:prstDash val="solid"/>
              <a:round/>
              <a:headEnd type="oval" w="med" len="med"/>
              <a:tailEnd type="oval"/>
            </a:ln>
            <a:effectLst/>
          </p:spPr>
        </p:cxnSp>
      </p:grpSp>
      <p:grpSp>
        <p:nvGrpSpPr>
          <p:cNvPr id="26" name="Group 3"/>
          <p:cNvGrpSpPr/>
          <p:nvPr/>
        </p:nvGrpSpPr>
        <p:grpSpPr>
          <a:xfrm>
            <a:off x="774342" y="2130564"/>
            <a:ext cx="2940368" cy="1026114"/>
            <a:chOff x="817581" y="1109946"/>
            <a:chExt cx="2940368" cy="1026114"/>
          </a:xfrm>
        </p:grpSpPr>
        <p:sp>
          <p:nvSpPr>
            <p:cNvPr id="27" name="Rounded Rectangle 69"/>
            <p:cNvSpPr/>
            <p:nvPr/>
          </p:nvSpPr>
          <p:spPr>
            <a:xfrm>
              <a:off x="817581" y="1109946"/>
              <a:ext cx="1927395" cy="1026114"/>
            </a:xfrm>
            <a:prstGeom prst="roundRect">
              <a:avLst>
                <a:gd name="adj" fmla="val 8812"/>
              </a:avLst>
            </a:prstGeom>
            <a:gradFill flip="none" rotWithShape="1">
              <a:gsLst>
                <a:gs pos="0">
                  <a:schemeClr val="bg1">
                    <a:alpha val="76000"/>
                  </a:schemeClr>
                </a:gs>
                <a:gs pos="100000">
                  <a:schemeClr val="bg1">
                    <a:lumMod val="75000"/>
                    <a:alpha val="22000"/>
                  </a:scheme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solidFill>
                <a:schemeClr val="bg1">
                  <a:lumMod val="65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>
              <a:bevelT w="25400" h="25400"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  <a:buClr>
                  <a:srgbClr val="000000">
                    <a:lumMod val="50000"/>
                    <a:lumOff val="50000"/>
                  </a:srgbClr>
                </a:buClr>
                <a:buSzPct val="100000"/>
                <a:defRPr/>
              </a:pPr>
              <a:r>
                <a:rPr lang="en-US" kern="0" dirty="0">
                  <a:solidFill>
                    <a:schemeClr val="tx1"/>
                  </a:solidFill>
                  <a:cs typeface="Open Sans"/>
                </a:rPr>
                <a:t>Happier, more motivated employees</a:t>
              </a:r>
            </a:p>
          </p:txBody>
        </p:sp>
        <p:cxnSp>
          <p:nvCxnSpPr>
            <p:cNvPr id="28" name="Straight Connector 74"/>
            <p:cNvCxnSpPr/>
            <p:nvPr/>
          </p:nvCxnSpPr>
          <p:spPr bwMode="auto">
            <a:xfrm>
              <a:off x="2744977" y="1487988"/>
              <a:ext cx="1012972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2"/>
              </a:solidFill>
              <a:prstDash val="solid"/>
              <a:round/>
              <a:headEnd type="oval" w="med" len="med"/>
              <a:tailEnd type="oval"/>
            </a:ln>
            <a:effectLst/>
          </p:spPr>
        </p:cxnSp>
      </p:grpSp>
      <p:grpSp>
        <p:nvGrpSpPr>
          <p:cNvPr id="29" name="Group 6"/>
          <p:cNvGrpSpPr/>
          <p:nvPr/>
        </p:nvGrpSpPr>
        <p:grpSpPr>
          <a:xfrm>
            <a:off x="774342" y="4074780"/>
            <a:ext cx="2858724" cy="1026114"/>
            <a:chOff x="817581" y="3054162"/>
            <a:chExt cx="2858724" cy="1026114"/>
          </a:xfrm>
        </p:grpSpPr>
        <p:sp>
          <p:nvSpPr>
            <p:cNvPr id="30" name="Rounded Rectangle 70"/>
            <p:cNvSpPr/>
            <p:nvPr/>
          </p:nvSpPr>
          <p:spPr>
            <a:xfrm>
              <a:off x="817581" y="3054162"/>
              <a:ext cx="1927395" cy="1026114"/>
            </a:xfrm>
            <a:prstGeom prst="roundRect">
              <a:avLst>
                <a:gd name="adj" fmla="val 9526"/>
              </a:avLst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75000"/>
                    <a:alpha val="22000"/>
                  </a:schemeClr>
                </a:gs>
              </a:gsLst>
              <a:lin ang="5580000" scaled="0"/>
              <a:tileRect/>
            </a:gradFill>
            <a:ln>
              <a:solidFill>
                <a:schemeClr val="bg1">
                  <a:lumMod val="65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>
              <a:bevelT w="25400" h="25400"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110000"/>
                </a:lnSpc>
                <a:buClr>
                  <a:srgbClr val="000000">
                    <a:lumMod val="50000"/>
                    <a:lumOff val="50000"/>
                  </a:srgbClr>
                </a:buClr>
                <a:buSzPct val="100000"/>
                <a:defRPr/>
              </a:pPr>
              <a:r>
                <a:rPr lang="en-US" kern="0" dirty="0">
                  <a:solidFill>
                    <a:schemeClr val="tx1"/>
                  </a:solidFill>
                  <a:cs typeface="Open Sans"/>
                </a:rPr>
                <a:t>20 – 50% increase in productivity</a:t>
              </a:r>
            </a:p>
          </p:txBody>
        </p:sp>
        <p:cxnSp>
          <p:nvCxnSpPr>
            <p:cNvPr id="31" name="Straight Connector 75"/>
            <p:cNvCxnSpPr/>
            <p:nvPr/>
          </p:nvCxnSpPr>
          <p:spPr bwMode="auto">
            <a:xfrm>
              <a:off x="2744976" y="3702234"/>
              <a:ext cx="931329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4">
                  <a:lumMod val="60000"/>
                  <a:lumOff val="40000"/>
                </a:schemeClr>
              </a:solidFill>
              <a:prstDash val="solid"/>
              <a:round/>
              <a:headEnd type="oval" w="med" len="med"/>
              <a:tailEnd type="oval"/>
            </a:ln>
            <a:effectLst/>
          </p:spPr>
        </p:cxnSp>
      </p:grpSp>
      <p:grpSp>
        <p:nvGrpSpPr>
          <p:cNvPr id="32" name="Group 5"/>
          <p:cNvGrpSpPr/>
          <p:nvPr/>
        </p:nvGrpSpPr>
        <p:grpSpPr>
          <a:xfrm>
            <a:off x="5538066" y="4128786"/>
            <a:ext cx="2766847" cy="1026114"/>
            <a:chOff x="5581305" y="3108168"/>
            <a:chExt cx="2766847" cy="1026114"/>
          </a:xfrm>
        </p:grpSpPr>
        <p:sp>
          <p:nvSpPr>
            <p:cNvPr id="33" name="Rounded Rectangle 72"/>
            <p:cNvSpPr/>
            <p:nvPr/>
          </p:nvSpPr>
          <p:spPr>
            <a:xfrm>
              <a:off x="6417384" y="3108168"/>
              <a:ext cx="1930768" cy="1026114"/>
            </a:xfrm>
            <a:prstGeom prst="roundRect">
              <a:avLst>
                <a:gd name="adj" fmla="val 10955"/>
              </a:avLst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75000"/>
                    <a:alpha val="22000"/>
                  </a:schemeClr>
                </a:gs>
              </a:gsLst>
              <a:lin ang="5580000" scaled="0"/>
              <a:tileRect/>
            </a:gradFill>
            <a:ln>
              <a:solidFill>
                <a:schemeClr val="bg1">
                  <a:lumMod val="65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>
              <a:bevelT w="25400" h="25400"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  <a:buClr>
                  <a:srgbClr val="000000">
                    <a:lumMod val="50000"/>
                    <a:lumOff val="50000"/>
                  </a:srgbClr>
                </a:buClr>
                <a:buSzPct val="100000"/>
                <a:defRPr/>
              </a:pPr>
              <a:r>
                <a:rPr lang="en-US" kern="0" dirty="0">
                  <a:solidFill>
                    <a:schemeClr val="tx1"/>
                  </a:solidFill>
                  <a:cs typeface="Open Sans"/>
                </a:rPr>
                <a:t>50%+ </a:t>
              </a:r>
              <a:r>
                <a:rPr lang="en-US" kern="0" dirty="0" smtClean="0">
                  <a:solidFill>
                    <a:schemeClr val="tx1"/>
                  </a:solidFill>
                  <a:cs typeface="Open Sans"/>
                </a:rPr>
                <a:t>defect </a:t>
              </a:r>
              <a:br>
                <a:rPr lang="en-US" kern="0" dirty="0" smtClean="0">
                  <a:solidFill>
                    <a:schemeClr val="tx1"/>
                  </a:solidFill>
                  <a:cs typeface="Open Sans"/>
                </a:rPr>
              </a:br>
              <a:r>
                <a:rPr lang="en-US" kern="0" dirty="0" smtClean="0">
                  <a:solidFill>
                    <a:schemeClr val="tx1"/>
                  </a:solidFill>
                  <a:cs typeface="Open Sans"/>
                </a:rPr>
                <a:t>reduction </a:t>
              </a:r>
              <a:endParaRPr lang="en-US" kern="0" dirty="0">
                <a:solidFill>
                  <a:schemeClr val="tx1"/>
                </a:solidFill>
                <a:cs typeface="Open Sans"/>
              </a:endParaRPr>
            </a:p>
          </p:txBody>
        </p:sp>
        <p:cxnSp>
          <p:nvCxnSpPr>
            <p:cNvPr id="34" name="Straight Connector 76"/>
            <p:cNvCxnSpPr/>
            <p:nvPr/>
          </p:nvCxnSpPr>
          <p:spPr bwMode="auto">
            <a:xfrm>
              <a:off x="5581305" y="3702234"/>
              <a:ext cx="836079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4"/>
              </a:solidFill>
              <a:prstDash val="solid"/>
              <a:round/>
              <a:headEnd type="oval" w="med" len="med"/>
              <a:tailEnd type="oval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29812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Scaled Agile Framework</a:t>
            </a:r>
            <a:r>
              <a:rPr lang="en-US" dirty="0"/>
              <a:t> (or </a:t>
            </a:r>
            <a:r>
              <a:rPr lang="en-US" b="1" dirty="0" err="1"/>
              <a:t>SAFe</a:t>
            </a:r>
            <a:r>
              <a:rPr lang="en-US" dirty="0"/>
              <a:t>) is an Agile software </a:t>
            </a:r>
            <a:r>
              <a:rPr lang="en-US" dirty="0" smtClean="0"/>
              <a:t>development</a:t>
            </a:r>
            <a:r>
              <a:rPr lang="en-US" dirty="0"/>
              <a:t> framework designed by Scaled Agile, Inc. It consists of a knowledge base of integrated patterns intended for enterprise-scale Lean-Agile development. Its proponents consider </a:t>
            </a:r>
            <a:r>
              <a:rPr lang="en-US" dirty="0" err="1"/>
              <a:t>SAFe</a:t>
            </a:r>
            <a:r>
              <a:rPr lang="en-US" dirty="0"/>
              <a:t> to be scalable and modular, allowing an organization to apply it in a way that suits its need.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AF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9050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dirty="0" smtClean="0">
                <a:solidFill>
                  <a:srgbClr val="323232"/>
                </a:solidFill>
                <a:latin typeface="Arial"/>
                <a:cs typeface="Arial"/>
              </a:rPr>
              <a:t>1 </a:t>
            </a:r>
            <a:r>
              <a:rPr lang="en-US" dirty="0">
                <a:solidFill>
                  <a:srgbClr val="323232"/>
                </a:solidFill>
                <a:latin typeface="Arial"/>
                <a:cs typeface="Arial"/>
              </a:rPr>
              <a:t>- Take an economic view</a:t>
            </a:r>
          </a:p>
          <a:p>
            <a: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dirty="0" smtClean="0">
                <a:solidFill>
                  <a:srgbClr val="323232"/>
                </a:solidFill>
                <a:latin typeface="Arial"/>
                <a:cs typeface="Arial"/>
              </a:rPr>
              <a:t>2 </a:t>
            </a:r>
            <a:r>
              <a:rPr lang="en-US" dirty="0">
                <a:solidFill>
                  <a:srgbClr val="323232"/>
                </a:solidFill>
                <a:latin typeface="Arial"/>
                <a:cs typeface="Arial"/>
              </a:rPr>
              <a:t>- Apply systems thinking</a:t>
            </a:r>
          </a:p>
          <a:p>
            <a: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dirty="0" smtClean="0">
                <a:solidFill>
                  <a:srgbClr val="323232"/>
                </a:solidFill>
                <a:latin typeface="Arial"/>
                <a:cs typeface="Arial"/>
              </a:rPr>
              <a:t>3 </a:t>
            </a:r>
            <a:r>
              <a:rPr lang="en-US" dirty="0">
                <a:solidFill>
                  <a:srgbClr val="323232"/>
                </a:solidFill>
                <a:latin typeface="Arial"/>
                <a:cs typeface="Arial"/>
              </a:rPr>
              <a:t>- Assume variability; preserve options</a:t>
            </a:r>
          </a:p>
          <a:p>
            <a: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dirty="0" smtClean="0">
                <a:solidFill>
                  <a:srgbClr val="323232"/>
                </a:solidFill>
                <a:latin typeface="Arial"/>
                <a:cs typeface="Arial"/>
              </a:rPr>
              <a:t>4 </a:t>
            </a:r>
            <a:r>
              <a:rPr lang="en-US" dirty="0">
                <a:solidFill>
                  <a:srgbClr val="323232"/>
                </a:solidFill>
                <a:latin typeface="Arial"/>
                <a:cs typeface="Arial"/>
              </a:rPr>
              <a:t>- Build incrementally with fast, integrated learning cycles</a:t>
            </a:r>
          </a:p>
          <a:p>
            <a: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dirty="0" smtClean="0">
                <a:solidFill>
                  <a:srgbClr val="323232"/>
                </a:solidFill>
                <a:latin typeface="Arial"/>
                <a:cs typeface="Arial"/>
              </a:rPr>
              <a:t>5 </a:t>
            </a:r>
            <a:r>
              <a:rPr lang="en-US" dirty="0">
                <a:solidFill>
                  <a:srgbClr val="323232"/>
                </a:solidFill>
                <a:latin typeface="Arial"/>
                <a:cs typeface="Arial"/>
              </a:rPr>
              <a:t>- Base milestones on objective evaluation of working systems</a:t>
            </a:r>
          </a:p>
          <a:p>
            <a: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pc="-45" dirty="0" smtClean="0">
                <a:solidFill>
                  <a:srgbClr val="323232"/>
                </a:solidFill>
                <a:latin typeface="Arial"/>
                <a:cs typeface="Arial"/>
              </a:rPr>
              <a:t>6 </a:t>
            </a:r>
            <a:r>
              <a:rPr lang="en-US" spc="-45" dirty="0">
                <a:solidFill>
                  <a:srgbClr val="323232"/>
                </a:solidFill>
                <a:latin typeface="Arial"/>
                <a:cs typeface="Arial"/>
              </a:rPr>
              <a:t>- Visualize and limit WIP, reduce batch sizes, and manage queue lengths </a:t>
            </a:r>
          </a:p>
          <a:p>
            <a: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dirty="0" smtClean="0">
                <a:solidFill>
                  <a:srgbClr val="323232"/>
                </a:solidFill>
                <a:latin typeface="Arial"/>
                <a:cs typeface="Arial"/>
              </a:rPr>
              <a:t>7 </a:t>
            </a:r>
            <a:r>
              <a:rPr lang="en-US" dirty="0">
                <a:solidFill>
                  <a:srgbClr val="323232"/>
                </a:solidFill>
                <a:latin typeface="Arial"/>
                <a:cs typeface="Arial"/>
              </a:rPr>
              <a:t>- Apply cadence, synchronize with cross-domain planning</a:t>
            </a:r>
          </a:p>
          <a:p>
            <a: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dirty="0" smtClean="0">
                <a:solidFill>
                  <a:srgbClr val="323232"/>
                </a:solidFill>
                <a:latin typeface="Arial"/>
                <a:cs typeface="Arial"/>
              </a:rPr>
              <a:t>8 </a:t>
            </a:r>
            <a:r>
              <a:rPr lang="en-US" dirty="0">
                <a:solidFill>
                  <a:srgbClr val="323232"/>
                </a:solidFill>
                <a:latin typeface="Arial"/>
                <a:cs typeface="Arial"/>
              </a:rPr>
              <a:t>- Unlock the intrinsic motivation of knowledge workers</a:t>
            </a:r>
          </a:p>
          <a:p>
            <a: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dirty="0" smtClean="0">
                <a:solidFill>
                  <a:srgbClr val="323232"/>
                </a:solidFill>
                <a:latin typeface="Arial"/>
                <a:cs typeface="Arial"/>
              </a:rPr>
              <a:t>9 </a:t>
            </a:r>
            <a:r>
              <a:rPr lang="en-US" dirty="0">
                <a:solidFill>
                  <a:srgbClr val="323232"/>
                </a:solidFill>
                <a:latin typeface="Arial"/>
                <a:cs typeface="Arial"/>
              </a:rPr>
              <a:t>- Decentralize decision-making</a:t>
            </a:r>
          </a:p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0" dirty="0" err="1" smtClean="0">
                <a:effectLst/>
              </a:rPr>
              <a:t>SAFe</a:t>
            </a:r>
            <a:r>
              <a:rPr lang="en-US" b="0" dirty="0" smtClean="0">
                <a:effectLst/>
              </a:rPr>
              <a:t> Lean-Agile princip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55589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uilding incrementally accelerates value delivery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SAFe</a:t>
            </a:r>
            <a:endParaRPr lang="ru-RU" dirty="0"/>
          </a:p>
        </p:txBody>
      </p:sp>
      <p:sp>
        <p:nvSpPr>
          <p:cNvPr id="4" name="Rounded Rectangle 72"/>
          <p:cNvSpPr/>
          <p:nvPr>
            <p:custDataLst>
              <p:tags r:id="rId1"/>
            </p:custDataLst>
          </p:nvPr>
        </p:nvSpPr>
        <p:spPr bwMode="auto">
          <a:xfrm>
            <a:off x="1431654" y="3193754"/>
            <a:ext cx="6180668" cy="1275508"/>
          </a:xfrm>
          <a:prstGeom prst="roundRect">
            <a:avLst>
              <a:gd name="adj" fmla="val 9712"/>
            </a:avLst>
          </a:prstGeom>
          <a:solidFill>
            <a:srgbClr val="FFFFFF">
              <a:lumMod val="95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34290" tIns="342900" rIns="34290" bIns="6858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 defTabSz="685800">
              <a:defRPr/>
            </a:pPr>
            <a:endParaRPr lang="en-US" sz="1350" kern="0" dirty="0">
              <a:solidFill>
                <a:sysClr val="windowText" lastClr="000000"/>
              </a:solidFill>
              <a:latin typeface="Arial"/>
            </a:endParaRPr>
          </a:p>
        </p:txBody>
      </p:sp>
      <p:grpSp>
        <p:nvGrpSpPr>
          <p:cNvPr id="5" name="Group 7"/>
          <p:cNvGrpSpPr/>
          <p:nvPr>
            <p:custDataLst>
              <p:tags r:id="rId2"/>
            </p:custDataLst>
          </p:nvPr>
        </p:nvGrpSpPr>
        <p:grpSpPr>
          <a:xfrm>
            <a:off x="1997660" y="3340033"/>
            <a:ext cx="486572" cy="422171"/>
            <a:chOff x="4399395" y="2671145"/>
            <a:chExt cx="1842470" cy="1598612"/>
          </a:xfrm>
          <a:solidFill>
            <a:srgbClr val="0085AC"/>
          </a:solidFill>
        </p:grpSpPr>
        <p:sp>
          <p:nvSpPr>
            <p:cNvPr id="6" name="Right Arrow 156"/>
            <p:cNvSpPr>
              <a:spLocks noChangeArrowheads="1"/>
            </p:cNvSpPr>
            <p:nvPr/>
          </p:nvSpPr>
          <p:spPr bwMode="auto">
            <a:xfrm>
              <a:off x="5304078" y="3809575"/>
              <a:ext cx="937787" cy="402880"/>
            </a:xfrm>
            <a:prstGeom prst="rightArrow">
              <a:avLst>
                <a:gd name="adj1" fmla="val 50000"/>
                <a:gd name="adj2" fmla="val 5000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7" name="Rectangle 160"/>
            <p:cNvSpPr>
              <a:spLocks noChangeArrowheads="1"/>
            </p:cNvSpPr>
            <p:nvPr/>
          </p:nvSpPr>
          <p:spPr bwMode="auto">
            <a:xfrm>
              <a:off x="4399395" y="3909419"/>
              <a:ext cx="914390" cy="201440"/>
            </a:xfrm>
            <a:prstGeom prst="rect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8" name="Circular Arrow 186"/>
            <p:cNvSpPr/>
            <p:nvPr/>
          </p:nvSpPr>
          <p:spPr bwMode="auto">
            <a:xfrm rot="7636339" flipV="1">
              <a:off x="4527366" y="2661619"/>
              <a:ext cx="1598612" cy="1617663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2069411"/>
                <a:gd name="adj5" fmla="val 1621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9" name="Group 7"/>
          <p:cNvGrpSpPr/>
          <p:nvPr>
            <p:custDataLst>
              <p:tags r:id="rId3"/>
            </p:custDataLst>
          </p:nvPr>
        </p:nvGrpSpPr>
        <p:grpSpPr>
          <a:xfrm>
            <a:off x="2607735" y="3340033"/>
            <a:ext cx="486572" cy="422171"/>
            <a:chOff x="4399395" y="2671145"/>
            <a:chExt cx="1842470" cy="1598612"/>
          </a:xfrm>
          <a:solidFill>
            <a:srgbClr val="0085AC"/>
          </a:solidFill>
        </p:grpSpPr>
        <p:sp>
          <p:nvSpPr>
            <p:cNvPr id="10" name="Right Arrow 37"/>
            <p:cNvSpPr>
              <a:spLocks noChangeArrowheads="1"/>
            </p:cNvSpPr>
            <p:nvPr/>
          </p:nvSpPr>
          <p:spPr bwMode="auto">
            <a:xfrm>
              <a:off x="5304078" y="3809575"/>
              <a:ext cx="937787" cy="402880"/>
            </a:xfrm>
            <a:prstGeom prst="rightArrow">
              <a:avLst>
                <a:gd name="adj1" fmla="val 50000"/>
                <a:gd name="adj2" fmla="val 5000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11" name="Rectangle 38"/>
            <p:cNvSpPr>
              <a:spLocks noChangeArrowheads="1"/>
            </p:cNvSpPr>
            <p:nvPr/>
          </p:nvSpPr>
          <p:spPr bwMode="auto">
            <a:xfrm>
              <a:off x="4399395" y="3909419"/>
              <a:ext cx="914390" cy="201440"/>
            </a:xfrm>
            <a:prstGeom prst="rect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12" name="Circular Arrow 152"/>
            <p:cNvSpPr/>
            <p:nvPr/>
          </p:nvSpPr>
          <p:spPr bwMode="auto">
            <a:xfrm rot="7636339" flipV="1">
              <a:off x="4527366" y="2661619"/>
              <a:ext cx="1598612" cy="1617663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2069411"/>
                <a:gd name="adj5" fmla="val 1621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13" name="Group 7"/>
          <p:cNvGrpSpPr/>
          <p:nvPr>
            <p:custDataLst>
              <p:tags r:id="rId4"/>
            </p:custDataLst>
          </p:nvPr>
        </p:nvGrpSpPr>
        <p:grpSpPr>
          <a:xfrm>
            <a:off x="3282885" y="3340033"/>
            <a:ext cx="486572" cy="422171"/>
            <a:chOff x="4399395" y="2671145"/>
            <a:chExt cx="1842470" cy="1598612"/>
          </a:xfrm>
          <a:solidFill>
            <a:srgbClr val="0085AC"/>
          </a:solidFill>
        </p:grpSpPr>
        <p:sp>
          <p:nvSpPr>
            <p:cNvPr id="14" name="Right Arrow 37"/>
            <p:cNvSpPr>
              <a:spLocks noChangeArrowheads="1"/>
            </p:cNvSpPr>
            <p:nvPr/>
          </p:nvSpPr>
          <p:spPr bwMode="auto">
            <a:xfrm>
              <a:off x="5304078" y="3809575"/>
              <a:ext cx="937787" cy="402880"/>
            </a:xfrm>
            <a:prstGeom prst="rightArrow">
              <a:avLst>
                <a:gd name="adj1" fmla="val 50000"/>
                <a:gd name="adj2" fmla="val 5000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15" name="Rectangle 38"/>
            <p:cNvSpPr>
              <a:spLocks noChangeArrowheads="1"/>
            </p:cNvSpPr>
            <p:nvPr/>
          </p:nvSpPr>
          <p:spPr bwMode="auto">
            <a:xfrm>
              <a:off x="4399395" y="3909419"/>
              <a:ext cx="914390" cy="201440"/>
            </a:xfrm>
            <a:prstGeom prst="rect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16" name="Circular Arrow 140"/>
            <p:cNvSpPr/>
            <p:nvPr/>
          </p:nvSpPr>
          <p:spPr bwMode="auto">
            <a:xfrm rot="7636339" flipV="1">
              <a:off x="4527366" y="2661619"/>
              <a:ext cx="1598612" cy="1617663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2069411"/>
                <a:gd name="adj5" fmla="val 1621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17" name="Group 66"/>
          <p:cNvGrpSpPr/>
          <p:nvPr>
            <p:custDataLst>
              <p:tags r:id="rId5"/>
            </p:custDataLst>
          </p:nvPr>
        </p:nvGrpSpPr>
        <p:grpSpPr>
          <a:xfrm>
            <a:off x="3884825" y="3340033"/>
            <a:ext cx="486572" cy="422171"/>
            <a:chOff x="4399395" y="2671145"/>
            <a:chExt cx="1842470" cy="1598612"/>
          </a:xfrm>
          <a:solidFill>
            <a:srgbClr val="0085AC"/>
          </a:solidFill>
        </p:grpSpPr>
        <p:sp>
          <p:nvSpPr>
            <p:cNvPr id="18" name="Right Arrow 37"/>
            <p:cNvSpPr>
              <a:spLocks noChangeArrowheads="1"/>
            </p:cNvSpPr>
            <p:nvPr/>
          </p:nvSpPr>
          <p:spPr bwMode="auto">
            <a:xfrm>
              <a:off x="5304078" y="3809575"/>
              <a:ext cx="937787" cy="402880"/>
            </a:xfrm>
            <a:prstGeom prst="rightArrow">
              <a:avLst>
                <a:gd name="adj1" fmla="val 50000"/>
                <a:gd name="adj2" fmla="val 5000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19" name="Rectangle 38"/>
            <p:cNvSpPr>
              <a:spLocks noChangeArrowheads="1"/>
            </p:cNvSpPr>
            <p:nvPr/>
          </p:nvSpPr>
          <p:spPr bwMode="auto">
            <a:xfrm>
              <a:off x="4399395" y="3909419"/>
              <a:ext cx="914390" cy="201440"/>
            </a:xfrm>
            <a:prstGeom prst="rect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20" name="Circular Arrow 132"/>
            <p:cNvSpPr/>
            <p:nvPr/>
          </p:nvSpPr>
          <p:spPr bwMode="auto">
            <a:xfrm rot="7636339" flipV="1">
              <a:off x="4527366" y="2661619"/>
              <a:ext cx="1598612" cy="1617663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2069411"/>
                <a:gd name="adj5" fmla="val 1621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21" name="Group 7"/>
          <p:cNvGrpSpPr/>
          <p:nvPr>
            <p:custDataLst>
              <p:tags r:id="rId6"/>
            </p:custDataLst>
          </p:nvPr>
        </p:nvGrpSpPr>
        <p:grpSpPr>
          <a:xfrm>
            <a:off x="4517815" y="3340033"/>
            <a:ext cx="486572" cy="422171"/>
            <a:chOff x="4399395" y="2671145"/>
            <a:chExt cx="1842470" cy="1598612"/>
          </a:xfrm>
          <a:solidFill>
            <a:srgbClr val="0085AC"/>
          </a:solidFill>
        </p:grpSpPr>
        <p:sp>
          <p:nvSpPr>
            <p:cNvPr id="22" name="Right Arrow 37"/>
            <p:cNvSpPr>
              <a:spLocks noChangeArrowheads="1"/>
            </p:cNvSpPr>
            <p:nvPr/>
          </p:nvSpPr>
          <p:spPr bwMode="auto">
            <a:xfrm>
              <a:off x="5304078" y="3809575"/>
              <a:ext cx="937787" cy="402880"/>
            </a:xfrm>
            <a:prstGeom prst="rightArrow">
              <a:avLst>
                <a:gd name="adj1" fmla="val 50000"/>
                <a:gd name="adj2" fmla="val 5000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23" name="Rectangle 38"/>
            <p:cNvSpPr>
              <a:spLocks noChangeArrowheads="1"/>
            </p:cNvSpPr>
            <p:nvPr/>
          </p:nvSpPr>
          <p:spPr bwMode="auto">
            <a:xfrm>
              <a:off x="4399395" y="3909419"/>
              <a:ext cx="914390" cy="201440"/>
            </a:xfrm>
            <a:prstGeom prst="rect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24" name="Circular Arrow 129"/>
            <p:cNvSpPr/>
            <p:nvPr/>
          </p:nvSpPr>
          <p:spPr bwMode="auto">
            <a:xfrm rot="7636339" flipV="1">
              <a:off x="4527366" y="2661619"/>
              <a:ext cx="1598612" cy="1617663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2069411"/>
                <a:gd name="adj5" fmla="val 1621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25" name="Group 89"/>
          <p:cNvGrpSpPr/>
          <p:nvPr>
            <p:custDataLst>
              <p:tags r:id="rId7"/>
            </p:custDataLst>
          </p:nvPr>
        </p:nvGrpSpPr>
        <p:grpSpPr>
          <a:xfrm>
            <a:off x="5119756" y="3340033"/>
            <a:ext cx="486572" cy="422171"/>
            <a:chOff x="4399395" y="2671145"/>
            <a:chExt cx="1842470" cy="1598612"/>
          </a:xfrm>
          <a:solidFill>
            <a:srgbClr val="0085AC"/>
          </a:solidFill>
        </p:grpSpPr>
        <p:sp>
          <p:nvSpPr>
            <p:cNvPr id="26" name="Right Arrow 37"/>
            <p:cNvSpPr>
              <a:spLocks noChangeArrowheads="1"/>
            </p:cNvSpPr>
            <p:nvPr/>
          </p:nvSpPr>
          <p:spPr bwMode="auto">
            <a:xfrm>
              <a:off x="5304078" y="3809575"/>
              <a:ext cx="937787" cy="402880"/>
            </a:xfrm>
            <a:prstGeom prst="rightArrow">
              <a:avLst>
                <a:gd name="adj1" fmla="val 50000"/>
                <a:gd name="adj2" fmla="val 5000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27" name="Rectangle 38"/>
            <p:cNvSpPr>
              <a:spLocks noChangeArrowheads="1"/>
            </p:cNvSpPr>
            <p:nvPr/>
          </p:nvSpPr>
          <p:spPr bwMode="auto">
            <a:xfrm>
              <a:off x="4399395" y="3909419"/>
              <a:ext cx="914390" cy="201440"/>
            </a:xfrm>
            <a:prstGeom prst="rect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28" name="Circular Arrow 126"/>
            <p:cNvSpPr/>
            <p:nvPr/>
          </p:nvSpPr>
          <p:spPr bwMode="auto">
            <a:xfrm rot="7636339" flipV="1">
              <a:off x="4527366" y="2661619"/>
              <a:ext cx="1598612" cy="1617663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2069411"/>
                <a:gd name="adj5" fmla="val 1621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29" name="Group 88"/>
          <p:cNvGrpSpPr/>
          <p:nvPr>
            <p:custDataLst>
              <p:tags r:id="rId8"/>
            </p:custDataLst>
          </p:nvPr>
        </p:nvGrpSpPr>
        <p:grpSpPr>
          <a:xfrm>
            <a:off x="5827444" y="3340033"/>
            <a:ext cx="486572" cy="422171"/>
            <a:chOff x="4399395" y="2671145"/>
            <a:chExt cx="1842470" cy="1598612"/>
          </a:xfrm>
          <a:solidFill>
            <a:srgbClr val="0085AC"/>
          </a:solidFill>
        </p:grpSpPr>
        <p:sp>
          <p:nvSpPr>
            <p:cNvPr id="30" name="Right Arrow 37"/>
            <p:cNvSpPr>
              <a:spLocks noChangeArrowheads="1"/>
            </p:cNvSpPr>
            <p:nvPr/>
          </p:nvSpPr>
          <p:spPr bwMode="auto">
            <a:xfrm>
              <a:off x="5304078" y="3809575"/>
              <a:ext cx="937787" cy="402880"/>
            </a:xfrm>
            <a:prstGeom prst="rightArrow">
              <a:avLst>
                <a:gd name="adj1" fmla="val 50000"/>
                <a:gd name="adj2" fmla="val 5000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31" name="Rectangle 38"/>
            <p:cNvSpPr>
              <a:spLocks noChangeArrowheads="1"/>
            </p:cNvSpPr>
            <p:nvPr/>
          </p:nvSpPr>
          <p:spPr bwMode="auto">
            <a:xfrm>
              <a:off x="4399395" y="3909419"/>
              <a:ext cx="914390" cy="201440"/>
            </a:xfrm>
            <a:prstGeom prst="rect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32" name="Circular Arrow 123"/>
            <p:cNvSpPr/>
            <p:nvPr/>
          </p:nvSpPr>
          <p:spPr bwMode="auto">
            <a:xfrm rot="7636339" flipV="1">
              <a:off x="4527366" y="2661619"/>
              <a:ext cx="1598612" cy="1617663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2069411"/>
                <a:gd name="adj5" fmla="val 1621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33" name="Group 7"/>
          <p:cNvGrpSpPr/>
          <p:nvPr>
            <p:custDataLst>
              <p:tags r:id="rId9"/>
            </p:custDataLst>
          </p:nvPr>
        </p:nvGrpSpPr>
        <p:grpSpPr>
          <a:xfrm>
            <a:off x="6429385" y="3340033"/>
            <a:ext cx="486572" cy="422171"/>
            <a:chOff x="4399395" y="2671145"/>
            <a:chExt cx="1842470" cy="1598612"/>
          </a:xfrm>
          <a:solidFill>
            <a:srgbClr val="0085AC"/>
          </a:solidFill>
        </p:grpSpPr>
        <p:sp>
          <p:nvSpPr>
            <p:cNvPr id="34" name="Right Arrow 37"/>
            <p:cNvSpPr>
              <a:spLocks noChangeArrowheads="1"/>
            </p:cNvSpPr>
            <p:nvPr/>
          </p:nvSpPr>
          <p:spPr bwMode="auto">
            <a:xfrm>
              <a:off x="5304078" y="3809575"/>
              <a:ext cx="937787" cy="402880"/>
            </a:xfrm>
            <a:prstGeom prst="rightArrow">
              <a:avLst>
                <a:gd name="adj1" fmla="val 50000"/>
                <a:gd name="adj2" fmla="val 5000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35" name="Rectangle 38"/>
            <p:cNvSpPr>
              <a:spLocks noChangeArrowheads="1"/>
            </p:cNvSpPr>
            <p:nvPr/>
          </p:nvSpPr>
          <p:spPr bwMode="auto">
            <a:xfrm>
              <a:off x="4399395" y="3909419"/>
              <a:ext cx="914390" cy="201440"/>
            </a:xfrm>
            <a:prstGeom prst="rect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36" name="Circular Arrow 120"/>
            <p:cNvSpPr/>
            <p:nvPr/>
          </p:nvSpPr>
          <p:spPr bwMode="auto">
            <a:xfrm rot="7636339" flipV="1">
              <a:off x="4527366" y="2661619"/>
              <a:ext cx="1598612" cy="1617663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2069411"/>
                <a:gd name="adj5" fmla="val 1621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 eaLnBrk="0" hangingPunct="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</p:grpSp>
      <p:sp>
        <p:nvSpPr>
          <p:cNvPr id="37" name="Round Same Side Corner Rectangle 112"/>
          <p:cNvSpPr/>
          <p:nvPr>
            <p:custDataLst>
              <p:tags r:id="rId10"/>
            </p:custDataLst>
          </p:nvPr>
        </p:nvSpPr>
        <p:spPr bwMode="auto">
          <a:xfrm rot="16200000">
            <a:off x="1045476" y="3579933"/>
            <a:ext cx="1275510" cy="503151"/>
          </a:xfrm>
          <a:prstGeom prst="round2SameRect">
            <a:avLst>
              <a:gd name="adj1" fmla="val 20755"/>
              <a:gd name="adj2" fmla="val 0"/>
            </a:avLst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85800">
              <a:lnSpc>
                <a:spcPct val="80000"/>
              </a:lnSpc>
              <a:spcBef>
                <a:spcPct val="20000"/>
              </a:spcBef>
              <a:buClr>
                <a:srgbClr val="FFFFFF"/>
              </a:buClr>
              <a:buSzPct val="100000"/>
              <a:defRPr/>
            </a:pPr>
            <a:r>
              <a:rPr lang="en-US" sz="1125" b="1" kern="0" cap="all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latin typeface="Arial"/>
              </a:rPr>
              <a:t>Incremental</a:t>
            </a:r>
          </a:p>
          <a:p>
            <a:pPr algn="ctr" defTabSz="685800">
              <a:lnSpc>
                <a:spcPct val="80000"/>
              </a:lnSpc>
              <a:spcBef>
                <a:spcPct val="20000"/>
              </a:spcBef>
              <a:buClr>
                <a:srgbClr val="FFFFFF"/>
              </a:buClr>
              <a:buSzPct val="100000"/>
              <a:defRPr/>
            </a:pPr>
            <a:r>
              <a:rPr lang="en-US" sz="1125" b="1" kern="0" cap="all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latin typeface="Arial"/>
              </a:rPr>
              <a:t>Delivery</a:t>
            </a:r>
          </a:p>
        </p:txBody>
      </p:sp>
      <p:sp>
        <p:nvSpPr>
          <p:cNvPr id="38" name="Rectangle 69"/>
          <p:cNvSpPr/>
          <p:nvPr/>
        </p:nvSpPr>
        <p:spPr bwMode="auto">
          <a:xfrm>
            <a:off x="3474243" y="3671888"/>
            <a:ext cx="57151" cy="45244"/>
          </a:xfrm>
          <a:prstGeom prst="rect">
            <a:avLst/>
          </a:prstGeom>
          <a:solidFill>
            <a:srgbClr val="0085AC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68580" rIns="68580" bIns="6858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eaLnBrk="0" hangingPunct="0">
              <a:spcBef>
                <a:spcPct val="20000"/>
              </a:spcBef>
            </a:pPr>
            <a:endParaRPr lang="en-US" sz="1650" i="1" dirty="0"/>
          </a:p>
        </p:txBody>
      </p:sp>
      <p:sp>
        <p:nvSpPr>
          <p:cNvPr id="39" name="Rectangle 80"/>
          <p:cNvSpPr/>
          <p:nvPr/>
        </p:nvSpPr>
        <p:spPr bwMode="auto">
          <a:xfrm>
            <a:off x="2805112" y="3671888"/>
            <a:ext cx="57151" cy="45244"/>
          </a:xfrm>
          <a:prstGeom prst="rect">
            <a:avLst/>
          </a:prstGeom>
          <a:solidFill>
            <a:srgbClr val="0085AC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68580" rIns="68580" bIns="6858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eaLnBrk="0" hangingPunct="0">
              <a:spcBef>
                <a:spcPct val="20000"/>
              </a:spcBef>
            </a:pPr>
            <a:endParaRPr lang="en-US" sz="1650" i="1" dirty="0"/>
          </a:p>
        </p:txBody>
      </p:sp>
      <p:sp>
        <p:nvSpPr>
          <p:cNvPr id="40" name="Rectangle 84"/>
          <p:cNvSpPr/>
          <p:nvPr/>
        </p:nvSpPr>
        <p:spPr bwMode="auto">
          <a:xfrm>
            <a:off x="2197893" y="3671888"/>
            <a:ext cx="57151" cy="45244"/>
          </a:xfrm>
          <a:prstGeom prst="rect">
            <a:avLst/>
          </a:prstGeom>
          <a:solidFill>
            <a:srgbClr val="0085AC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68580" rIns="68580" bIns="6858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eaLnBrk="0" hangingPunct="0">
              <a:spcBef>
                <a:spcPct val="20000"/>
              </a:spcBef>
            </a:pPr>
            <a:endParaRPr lang="en-US" sz="1650" i="1" dirty="0"/>
          </a:p>
        </p:txBody>
      </p:sp>
      <p:sp>
        <p:nvSpPr>
          <p:cNvPr id="41" name="Rectangle 88"/>
          <p:cNvSpPr/>
          <p:nvPr/>
        </p:nvSpPr>
        <p:spPr bwMode="auto">
          <a:xfrm>
            <a:off x="4083843" y="3671888"/>
            <a:ext cx="57151" cy="45244"/>
          </a:xfrm>
          <a:prstGeom prst="rect">
            <a:avLst/>
          </a:prstGeom>
          <a:solidFill>
            <a:srgbClr val="0085AC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68580" rIns="68580" bIns="6858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eaLnBrk="0" hangingPunct="0">
              <a:spcBef>
                <a:spcPct val="20000"/>
              </a:spcBef>
            </a:pPr>
            <a:endParaRPr lang="en-US" sz="1650" i="1" dirty="0"/>
          </a:p>
        </p:txBody>
      </p:sp>
      <p:sp>
        <p:nvSpPr>
          <p:cNvPr id="42" name="Rectangle 92"/>
          <p:cNvSpPr/>
          <p:nvPr/>
        </p:nvSpPr>
        <p:spPr bwMode="auto">
          <a:xfrm>
            <a:off x="4726781" y="3671888"/>
            <a:ext cx="57151" cy="45244"/>
          </a:xfrm>
          <a:prstGeom prst="rect">
            <a:avLst/>
          </a:prstGeom>
          <a:solidFill>
            <a:srgbClr val="0085AC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68580" rIns="68580" bIns="6858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eaLnBrk="0" hangingPunct="0">
              <a:spcBef>
                <a:spcPct val="20000"/>
              </a:spcBef>
            </a:pPr>
            <a:endParaRPr lang="en-US" sz="1650" i="1" dirty="0"/>
          </a:p>
        </p:txBody>
      </p:sp>
      <p:sp>
        <p:nvSpPr>
          <p:cNvPr id="43" name="Rectangle 100"/>
          <p:cNvSpPr/>
          <p:nvPr/>
        </p:nvSpPr>
        <p:spPr bwMode="auto">
          <a:xfrm>
            <a:off x="5322093" y="3671888"/>
            <a:ext cx="57151" cy="45244"/>
          </a:xfrm>
          <a:prstGeom prst="rect">
            <a:avLst/>
          </a:prstGeom>
          <a:solidFill>
            <a:srgbClr val="0085AC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68580" rIns="68580" bIns="6858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eaLnBrk="0" hangingPunct="0">
              <a:spcBef>
                <a:spcPct val="20000"/>
              </a:spcBef>
            </a:pPr>
            <a:endParaRPr lang="en-US" sz="1650" i="1" dirty="0"/>
          </a:p>
        </p:txBody>
      </p:sp>
      <p:sp>
        <p:nvSpPr>
          <p:cNvPr id="44" name="Rectangle 108"/>
          <p:cNvSpPr/>
          <p:nvPr/>
        </p:nvSpPr>
        <p:spPr bwMode="auto">
          <a:xfrm>
            <a:off x="6031706" y="3671888"/>
            <a:ext cx="57151" cy="45244"/>
          </a:xfrm>
          <a:prstGeom prst="rect">
            <a:avLst/>
          </a:prstGeom>
          <a:solidFill>
            <a:srgbClr val="0085AC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68580" rIns="68580" bIns="6858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eaLnBrk="0" hangingPunct="0">
              <a:spcBef>
                <a:spcPct val="20000"/>
              </a:spcBef>
            </a:pPr>
            <a:endParaRPr lang="en-US" sz="1650" i="1" dirty="0"/>
          </a:p>
        </p:txBody>
      </p:sp>
      <p:sp>
        <p:nvSpPr>
          <p:cNvPr id="45" name="Rectangle 134"/>
          <p:cNvSpPr/>
          <p:nvPr/>
        </p:nvSpPr>
        <p:spPr bwMode="auto">
          <a:xfrm>
            <a:off x="6641306" y="3671888"/>
            <a:ext cx="57151" cy="45244"/>
          </a:xfrm>
          <a:prstGeom prst="rect">
            <a:avLst/>
          </a:prstGeom>
          <a:solidFill>
            <a:srgbClr val="0085AC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68580" rIns="68580" bIns="6858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eaLnBrk="0" hangingPunct="0">
              <a:spcBef>
                <a:spcPct val="20000"/>
              </a:spcBef>
            </a:pPr>
            <a:endParaRPr lang="en-US" sz="1650" i="1" dirty="0"/>
          </a:p>
        </p:txBody>
      </p:sp>
      <p:pic>
        <p:nvPicPr>
          <p:cNvPr id="46" name="Picture 135" descr="big-box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0166" y="3824332"/>
            <a:ext cx="523808" cy="499364"/>
          </a:xfrm>
          <a:prstGeom prst="rect">
            <a:avLst/>
          </a:prstGeom>
        </p:spPr>
      </p:pic>
      <p:pic>
        <p:nvPicPr>
          <p:cNvPr id="47" name="Picture 137" descr="big-box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4935" y="3858726"/>
            <a:ext cx="451653" cy="430576"/>
          </a:xfrm>
          <a:prstGeom prst="rect">
            <a:avLst/>
          </a:prstGeom>
        </p:spPr>
      </p:pic>
      <p:pic>
        <p:nvPicPr>
          <p:cNvPr id="48" name="Picture 138" descr="big-box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4815" y="3904136"/>
            <a:ext cx="356387" cy="339756"/>
          </a:xfrm>
          <a:prstGeom prst="rect">
            <a:avLst/>
          </a:prstGeom>
        </p:spPr>
      </p:pic>
      <p:pic>
        <p:nvPicPr>
          <p:cNvPr id="49" name="Picture 139" descr="big-box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7934" y="3904136"/>
            <a:ext cx="356387" cy="339756"/>
          </a:xfrm>
          <a:prstGeom prst="rect">
            <a:avLst/>
          </a:prstGeom>
        </p:spPr>
      </p:pic>
      <p:pic>
        <p:nvPicPr>
          <p:cNvPr id="50" name="Picture 141" descr="big-box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1379" y="3929943"/>
            <a:ext cx="302248" cy="288143"/>
          </a:xfrm>
          <a:prstGeom prst="rect">
            <a:avLst/>
          </a:prstGeom>
        </p:spPr>
      </p:pic>
      <p:pic>
        <p:nvPicPr>
          <p:cNvPr id="51" name="Picture 142" descr="big-box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695" y="3951174"/>
            <a:ext cx="257706" cy="245680"/>
          </a:xfrm>
          <a:prstGeom prst="rect">
            <a:avLst/>
          </a:prstGeom>
        </p:spPr>
      </p:pic>
      <p:pic>
        <p:nvPicPr>
          <p:cNvPr id="52" name="Picture 143" descr="big-box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6742" y="3959343"/>
            <a:ext cx="240569" cy="229343"/>
          </a:xfrm>
          <a:prstGeom prst="rect">
            <a:avLst/>
          </a:prstGeom>
        </p:spPr>
      </p:pic>
      <p:pic>
        <p:nvPicPr>
          <p:cNvPr id="53" name="Picture 145" descr="big-box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5398" y="3979989"/>
            <a:ext cx="197256" cy="188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7419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There </a:t>
            </a:r>
            <a:r>
              <a:rPr lang="en-US" dirty="0"/>
              <a:t>are two different types of </a:t>
            </a:r>
            <a:r>
              <a:rPr lang="en-US" dirty="0" err="1"/>
              <a:t>SAFe</a:t>
            </a:r>
            <a:r>
              <a:rPr lang="en-US" dirty="0"/>
              <a:t> 4.0 implementation, 3-Level </a:t>
            </a:r>
            <a:r>
              <a:rPr lang="en-US" dirty="0" err="1"/>
              <a:t>SAFe</a:t>
            </a:r>
            <a:r>
              <a:rPr lang="en-US" dirty="0"/>
              <a:t> and 4-Level </a:t>
            </a:r>
            <a:r>
              <a:rPr lang="en-US" dirty="0" err="1"/>
              <a:t>SAFe</a:t>
            </a:r>
            <a:r>
              <a:rPr lang="en-US" dirty="0"/>
              <a:t>. 3-Level </a:t>
            </a:r>
            <a:r>
              <a:rPr lang="en-US" dirty="0" err="1"/>
              <a:t>SAFe</a:t>
            </a:r>
            <a:r>
              <a:rPr lang="en-US" dirty="0"/>
              <a:t> is for smaller implementations with 100 people or less, or multiple such programs that do not require significant collaboration. 4-Level </a:t>
            </a:r>
            <a:r>
              <a:rPr lang="en-US" dirty="0" err="1"/>
              <a:t>SAFe</a:t>
            </a:r>
            <a:r>
              <a:rPr lang="en-US" dirty="0"/>
              <a:t> is for solutions that typically require many hundreds of practitioners to develop, deploy and maintain.</a:t>
            </a:r>
          </a:p>
          <a:p>
            <a:r>
              <a:rPr lang="en-US" dirty="0"/>
              <a:t>The levels in 3-Level </a:t>
            </a:r>
            <a:r>
              <a:rPr lang="en-US" dirty="0" err="1"/>
              <a:t>SAFe</a:t>
            </a:r>
            <a:r>
              <a:rPr lang="en-US" dirty="0"/>
              <a:t> are Team, Program &amp; Portfolio.</a:t>
            </a:r>
          </a:p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0" dirty="0" smtClean="0">
                <a:effectLst/>
              </a:rPr>
              <a:t>Level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33171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-level </a:t>
            </a:r>
            <a:r>
              <a:rPr lang="en-US" dirty="0" err="1"/>
              <a:t>SAFe</a:t>
            </a:r>
            <a:r>
              <a:rPr lang="en-US" dirty="0"/>
              <a:t> 4.0</a:t>
            </a:r>
            <a:endParaRPr lang="ru-RU" dirty="0"/>
          </a:p>
        </p:txBody>
      </p:sp>
      <p:pic>
        <p:nvPicPr>
          <p:cNvPr id="4" name="Picture 1" descr="ccccccccc.png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384" y="1481138"/>
            <a:ext cx="7101231" cy="4525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9247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251520" y="2474081"/>
            <a:ext cx="5209198" cy="4525963"/>
          </a:xfrm>
        </p:spPr>
        <p:txBody>
          <a:bodyPr>
            <a:normAutofit/>
          </a:bodyPr>
          <a:lstStyle/>
          <a:p>
            <a:pPr>
              <a:spcBef>
                <a:spcPts val="750"/>
              </a:spcBef>
              <a:buClr>
                <a:schemeClr val="tx1">
                  <a:lumMod val="50000"/>
                  <a:lumOff val="50000"/>
                </a:schemeClr>
              </a:buClr>
              <a:buFont typeface="Webdings" pitchFamily="18" charset="2"/>
              <a:buChar char=""/>
            </a:pPr>
            <a:r>
              <a:rPr lang="en-US" sz="2200" dirty="0"/>
              <a:t>Implemented in the same iteration</a:t>
            </a:r>
          </a:p>
          <a:p>
            <a:pPr>
              <a:spcBef>
                <a:spcPts val="750"/>
              </a:spcBef>
              <a:buClr>
                <a:schemeClr val="tx1">
                  <a:lumMod val="50000"/>
                  <a:lumOff val="50000"/>
                </a:schemeClr>
              </a:buClr>
              <a:buFont typeface="Webdings" pitchFamily="18" charset="2"/>
              <a:buChar char=""/>
            </a:pPr>
            <a:r>
              <a:rPr lang="en-US" sz="2200" dirty="0"/>
              <a:t>Maintained under version control</a:t>
            </a:r>
          </a:p>
          <a:p>
            <a:pPr>
              <a:spcBef>
                <a:spcPts val="750"/>
              </a:spcBef>
              <a:buClr>
                <a:schemeClr val="tx1">
                  <a:lumMod val="50000"/>
                  <a:lumOff val="50000"/>
                </a:schemeClr>
              </a:buClr>
              <a:buFont typeface="Webdings" pitchFamily="18" charset="2"/>
              <a:buChar char=""/>
            </a:pPr>
            <a:r>
              <a:rPr lang="en-US" sz="2200" dirty="0">
                <a:solidFill>
                  <a:srgbClr val="E05E0D"/>
                </a:solidFill>
              </a:rPr>
              <a:t>Passing vs. not-yet-passing </a:t>
            </a:r>
            <a:r>
              <a:rPr lang="en-US" sz="2200" dirty="0"/>
              <a:t>and</a:t>
            </a:r>
            <a:r>
              <a:rPr lang="en-US" sz="2200" dirty="0">
                <a:solidFill>
                  <a:srgbClr val="E05E0D"/>
                </a:solidFill>
              </a:rPr>
              <a:t> </a:t>
            </a:r>
            <a:br>
              <a:rPr lang="en-US" sz="2200" dirty="0">
                <a:solidFill>
                  <a:srgbClr val="E05E0D"/>
                </a:solidFill>
              </a:rPr>
            </a:br>
            <a:r>
              <a:rPr lang="en-US" sz="2200" dirty="0">
                <a:solidFill>
                  <a:srgbClr val="E05E0D"/>
                </a:solidFill>
              </a:rPr>
              <a:t>broken automated tests </a:t>
            </a:r>
            <a:r>
              <a:rPr lang="en-US" sz="2200" dirty="0" smtClean="0"/>
              <a:t>are </a:t>
            </a:r>
            <a:r>
              <a:rPr lang="en-US" sz="2200" dirty="0"/>
              <a:t>the </a:t>
            </a:r>
            <a:r>
              <a:rPr lang="en-US" sz="2200" i="1" dirty="0">
                <a:solidFill>
                  <a:schemeClr val="accent2"/>
                </a:solidFill>
              </a:rPr>
              <a:t>real</a:t>
            </a:r>
            <a:r>
              <a:rPr lang="en-US" sz="2200" dirty="0">
                <a:solidFill>
                  <a:schemeClr val="accent2"/>
                </a:solidFill>
              </a:rPr>
              <a:t> </a:t>
            </a:r>
            <a:endParaRPr lang="en-US" sz="2200" dirty="0" smtClean="0">
              <a:solidFill>
                <a:schemeClr val="accent2"/>
              </a:solidFill>
            </a:endParaRPr>
          </a:p>
          <a:p>
            <a:pPr marL="109728" indent="0">
              <a:spcBef>
                <a:spcPts val="750"/>
              </a:spcBef>
              <a:buClr>
                <a:schemeClr val="tx1">
                  <a:lumMod val="50000"/>
                  <a:lumOff val="50000"/>
                </a:schemeClr>
              </a:buClr>
              <a:buNone/>
            </a:pPr>
            <a:r>
              <a:rPr lang="en-US" sz="2200" dirty="0">
                <a:solidFill>
                  <a:schemeClr val="accent2"/>
                </a:solidFill>
              </a:rPr>
              <a:t> </a:t>
            </a:r>
            <a:r>
              <a:rPr lang="en-US" sz="2200" dirty="0" smtClean="0">
                <a:solidFill>
                  <a:schemeClr val="accent2"/>
                </a:solidFill>
              </a:rPr>
              <a:t>  </a:t>
            </a:r>
            <a:r>
              <a:rPr lang="en-US" sz="2200" dirty="0" smtClean="0"/>
              <a:t>iteration </a:t>
            </a:r>
            <a:r>
              <a:rPr lang="en-US" sz="2200" dirty="0"/>
              <a:t>progress indicator</a:t>
            </a:r>
          </a:p>
          <a:p>
            <a:endParaRPr lang="ru-RU" sz="2200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es test automation</a:t>
            </a:r>
            <a:endParaRPr lang="ru-RU" dirty="0"/>
          </a:p>
        </p:txBody>
      </p:sp>
      <p:grpSp>
        <p:nvGrpSpPr>
          <p:cNvPr id="4" name="Group 4"/>
          <p:cNvGrpSpPr/>
          <p:nvPr/>
        </p:nvGrpSpPr>
        <p:grpSpPr>
          <a:xfrm>
            <a:off x="5677020" y="1694636"/>
            <a:ext cx="3257293" cy="3572283"/>
            <a:chOff x="5426969" y="1233918"/>
            <a:chExt cx="3257293" cy="3572283"/>
          </a:xfrm>
        </p:grpSpPr>
        <p:sp>
          <p:nvSpPr>
            <p:cNvPr id="5" name="Up Arrow 57"/>
            <p:cNvSpPr/>
            <p:nvPr/>
          </p:nvSpPr>
          <p:spPr bwMode="auto">
            <a:xfrm>
              <a:off x="8074284" y="2518320"/>
              <a:ext cx="425662" cy="1044077"/>
            </a:xfrm>
            <a:prstGeom prst="upArrow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 eaLnBrk="0" hangingPunct="0">
                <a:spcBef>
                  <a:spcPct val="20000"/>
                </a:spcBef>
              </a:pPr>
              <a:endParaRPr lang="en-US" sz="2200" i="1" dirty="0" smtClean="0"/>
            </a:p>
          </p:txBody>
        </p:sp>
        <p:sp>
          <p:nvSpPr>
            <p:cNvPr id="6" name="TextBox 5"/>
            <p:cNvSpPr txBox="1"/>
            <p:nvPr/>
          </p:nvSpPr>
          <p:spPr>
            <a:xfrm rot="16200000">
              <a:off x="7994861" y="2981829"/>
              <a:ext cx="55015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200" dirty="0" smtClean="0">
                  <a:solidFill>
                    <a:srgbClr val="717171"/>
                  </a:solidFill>
                </a:rPr>
                <a:t>Done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7799981" y="1260697"/>
              <a:ext cx="884281" cy="1200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 algn="l">
                <a:buClr>
                  <a:schemeClr val="accent5"/>
                </a:buClr>
                <a:buFont typeface="Wingdings" panose="05000000000000000000" pitchFamily="2" charset="2"/>
                <a:buChar char="ü"/>
              </a:pPr>
              <a:r>
                <a:rPr lang="en-US" sz="1200" dirty="0" smtClean="0"/>
                <a:t>Test 1</a:t>
              </a:r>
            </a:p>
            <a:p>
              <a:pPr marL="285750" indent="-285750" algn="l">
                <a:buClr>
                  <a:schemeClr val="accent5"/>
                </a:buClr>
                <a:buFont typeface="Wingdings" panose="05000000000000000000" pitchFamily="2" charset="2"/>
                <a:buChar char="ü"/>
              </a:pPr>
              <a:r>
                <a:rPr lang="en-US" sz="1200" dirty="0" smtClean="0"/>
                <a:t>Test 2</a:t>
              </a:r>
            </a:p>
            <a:p>
              <a:pPr marL="285750" indent="-285750" algn="l">
                <a:buClr>
                  <a:schemeClr val="accent5"/>
                </a:buClr>
                <a:buFont typeface="Wingdings" panose="05000000000000000000" pitchFamily="2" charset="2"/>
                <a:buChar char="ü"/>
              </a:pPr>
              <a:r>
                <a:rPr lang="en-US" sz="1200" dirty="0" smtClean="0"/>
                <a:t>Test 3</a:t>
              </a:r>
            </a:p>
            <a:p>
              <a:pPr marL="285750" indent="-285750" algn="l">
                <a:buClr>
                  <a:schemeClr val="accent5"/>
                </a:buClr>
                <a:buFont typeface="Wingdings" panose="05000000000000000000" pitchFamily="2" charset="2"/>
                <a:buChar char="ü"/>
              </a:pPr>
              <a:r>
                <a:rPr lang="en-US" sz="1200" dirty="0" smtClean="0"/>
                <a:t>Test 4</a:t>
              </a:r>
            </a:p>
            <a:p>
              <a:pPr marL="285750" indent="-285750" algn="l">
                <a:buClr>
                  <a:schemeClr val="accent5"/>
                </a:buClr>
                <a:buFont typeface="Wingdings" panose="05000000000000000000" pitchFamily="2" charset="2"/>
                <a:buChar char="ü"/>
              </a:pPr>
              <a:r>
                <a:rPr lang="en-US" sz="1200" dirty="0" smtClean="0"/>
                <a:t>Test 5</a:t>
              </a:r>
            </a:p>
            <a:p>
              <a:pPr algn="ctr"/>
              <a:r>
                <a:rPr lang="en-US" sz="1200" dirty="0" smtClean="0"/>
                <a:t>…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6547224" y="1233918"/>
              <a:ext cx="768865" cy="1200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71450" indent="-171450" algn="l">
                <a:buClr>
                  <a:schemeClr val="accent5"/>
                </a:buClr>
                <a:buFont typeface="Wingdings" panose="05000000000000000000" pitchFamily="2" charset="2"/>
                <a:buChar char="ü"/>
              </a:pPr>
              <a:r>
                <a:rPr lang="en-US" sz="1200" dirty="0" smtClean="0"/>
                <a:t>Test 1</a:t>
              </a:r>
            </a:p>
            <a:p>
              <a:pPr algn="l">
                <a:buClr>
                  <a:srgbClr val="008000"/>
                </a:buClr>
              </a:pPr>
              <a:r>
                <a:rPr lang="en-US" sz="1200" dirty="0" smtClean="0"/>
                <a:t>    Test 2</a:t>
              </a:r>
            </a:p>
            <a:p>
              <a:pPr marL="171450" indent="-171450" algn="l">
                <a:buClr>
                  <a:schemeClr val="accent5"/>
                </a:buClr>
                <a:buFont typeface="Wingdings" panose="05000000000000000000" pitchFamily="2" charset="2"/>
                <a:buChar char="ü"/>
              </a:pPr>
              <a:r>
                <a:rPr lang="en-US" sz="1200" dirty="0" smtClean="0"/>
                <a:t>Test 3</a:t>
              </a:r>
            </a:p>
            <a:p>
              <a:pPr algn="l">
                <a:buClr>
                  <a:srgbClr val="008000"/>
                </a:buClr>
              </a:pPr>
              <a:r>
                <a:rPr lang="en-US" sz="1200" dirty="0" smtClean="0"/>
                <a:t>    Test 4</a:t>
              </a:r>
            </a:p>
            <a:p>
              <a:pPr algn="l">
                <a:buClr>
                  <a:srgbClr val="008000"/>
                </a:buClr>
              </a:pPr>
              <a:r>
                <a:rPr lang="en-US" sz="1200" dirty="0" smtClean="0"/>
                <a:t>    Test 5</a:t>
              </a:r>
            </a:p>
            <a:p>
              <a:pPr algn="ctr"/>
              <a:r>
                <a:rPr lang="en-US" sz="1200" dirty="0" smtClean="0"/>
                <a:t>…</a:t>
              </a:r>
            </a:p>
          </p:txBody>
        </p:sp>
        <p:sp>
          <p:nvSpPr>
            <p:cNvPr id="9" name="Up Arrow 61"/>
            <p:cNvSpPr/>
            <p:nvPr/>
          </p:nvSpPr>
          <p:spPr bwMode="auto">
            <a:xfrm>
              <a:off x="6853117" y="2532712"/>
              <a:ext cx="425662" cy="1044077"/>
            </a:xfrm>
            <a:prstGeom prst="upArrow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 eaLnBrk="0" hangingPunct="0">
                <a:spcBef>
                  <a:spcPct val="20000"/>
                </a:spcBef>
              </a:pPr>
              <a:endParaRPr lang="en-US" sz="2200" i="1" dirty="0" smtClean="0"/>
            </a:p>
          </p:txBody>
        </p:sp>
        <p:sp>
          <p:nvSpPr>
            <p:cNvPr id="10" name="TextBox 9"/>
            <p:cNvSpPr txBox="1"/>
            <p:nvPr/>
          </p:nvSpPr>
          <p:spPr>
            <a:xfrm rot="16200000">
              <a:off x="6649462" y="2996221"/>
              <a:ext cx="79861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200" dirty="0" smtClean="0">
                  <a:solidFill>
                    <a:srgbClr val="717171"/>
                  </a:solidFill>
                </a:rPr>
                <a:t>Progress</a:t>
              </a:r>
            </a:p>
          </p:txBody>
        </p:sp>
        <p:sp>
          <p:nvSpPr>
            <p:cNvPr id="11" name="Oval 63"/>
            <p:cNvSpPr>
              <a:spLocks noChangeAspect="1"/>
            </p:cNvSpPr>
            <p:nvPr/>
          </p:nvSpPr>
          <p:spPr bwMode="auto">
            <a:xfrm>
              <a:off x="6646274" y="1506584"/>
              <a:ext cx="96376" cy="96376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 eaLnBrk="0" hangingPunct="0">
                <a:spcBef>
                  <a:spcPct val="20000"/>
                </a:spcBef>
              </a:pPr>
              <a:endParaRPr lang="en-US" sz="2200" i="1" dirty="0" smtClean="0"/>
            </a:p>
          </p:txBody>
        </p:sp>
        <p:sp>
          <p:nvSpPr>
            <p:cNvPr id="12" name="Oval 64"/>
            <p:cNvSpPr>
              <a:spLocks noChangeAspect="1"/>
            </p:cNvSpPr>
            <p:nvPr/>
          </p:nvSpPr>
          <p:spPr bwMode="auto">
            <a:xfrm>
              <a:off x="6659769" y="1894355"/>
              <a:ext cx="96376" cy="96376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 eaLnBrk="0" hangingPunct="0">
                <a:spcBef>
                  <a:spcPct val="20000"/>
                </a:spcBef>
              </a:pPr>
              <a:endParaRPr lang="en-US" sz="2200" i="1" dirty="0" smtClean="0"/>
            </a:p>
          </p:txBody>
        </p:sp>
        <p:sp>
          <p:nvSpPr>
            <p:cNvPr id="13" name="Rounded Rectangle 65"/>
            <p:cNvSpPr/>
            <p:nvPr/>
          </p:nvSpPr>
          <p:spPr bwMode="auto">
            <a:xfrm>
              <a:off x="5426969" y="3538553"/>
              <a:ext cx="3088990" cy="1149613"/>
            </a:xfrm>
            <a:prstGeom prst="roundRect">
              <a:avLst>
                <a:gd name="adj" fmla="val 6111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 eaLnBrk="0" hangingPunct="0">
                <a:spcBef>
                  <a:spcPct val="20000"/>
                </a:spcBef>
              </a:pPr>
              <a:endParaRPr lang="en-US" sz="2200" i="1" dirty="0" smtClean="0"/>
            </a:p>
          </p:txBody>
        </p:sp>
        <p:sp>
          <p:nvSpPr>
            <p:cNvPr id="14" name="Rounded Rectangle 66"/>
            <p:cNvSpPr/>
            <p:nvPr/>
          </p:nvSpPr>
          <p:spPr bwMode="auto">
            <a:xfrm>
              <a:off x="5531611" y="4210629"/>
              <a:ext cx="2082364" cy="240941"/>
            </a:xfrm>
            <a:prstGeom prst="round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eaLnBrk="0" hangingPunct="0">
                <a:spcBef>
                  <a:spcPct val="20000"/>
                </a:spcBef>
              </a:pPr>
              <a:endParaRPr lang="en-US" sz="2200" i="1" dirty="0">
                <a:solidFill>
                  <a:schemeClr val="dk1"/>
                </a:solidFill>
              </a:endParaRPr>
            </a:p>
          </p:txBody>
        </p:sp>
        <p:sp>
          <p:nvSpPr>
            <p:cNvPr id="15" name="Rounded Rectangle 67"/>
            <p:cNvSpPr/>
            <p:nvPr/>
          </p:nvSpPr>
          <p:spPr bwMode="auto">
            <a:xfrm>
              <a:off x="6102482" y="3664564"/>
              <a:ext cx="2315400" cy="481882"/>
            </a:xfrm>
            <a:prstGeom prst="round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eaLnBrk="0" hangingPunct="0">
                <a:spcBef>
                  <a:spcPct val="20000"/>
                </a:spcBef>
              </a:pPr>
              <a:endParaRPr lang="en-US" sz="2200" i="1" dirty="0">
                <a:solidFill>
                  <a:schemeClr val="dk1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986162" y="4188322"/>
              <a:ext cx="1280729" cy="2703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400" dirty="0" smtClean="0">
                  <a:solidFill>
                    <a:srgbClr val="FFFFFF"/>
                  </a:solidFill>
                </a:rPr>
                <a:t>Test automation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6376922" y="3751806"/>
              <a:ext cx="1865200" cy="297359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solidFill>
                <a:schemeClr val="bg1">
                  <a:alpha val="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pPr algn="l"/>
              <a:r>
                <a:rPr lang="en-US" sz="1600" dirty="0" smtClean="0">
                  <a:solidFill>
                    <a:schemeClr val="bg1"/>
                  </a:solidFill>
                </a:rPr>
                <a:t>Building functionality</a:t>
              </a:r>
            </a:p>
          </p:txBody>
        </p:sp>
        <p:sp>
          <p:nvSpPr>
            <p:cNvPr id="18" name="Right Arrow 70"/>
            <p:cNvSpPr/>
            <p:nvPr/>
          </p:nvSpPr>
          <p:spPr bwMode="auto">
            <a:xfrm>
              <a:off x="5426971" y="4484947"/>
              <a:ext cx="3088987" cy="321254"/>
            </a:xfrm>
            <a:prstGeom prst="rightArrow">
              <a:avLst>
                <a:gd name="adj1" fmla="val 48260"/>
                <a:gd name="adj2" fmla="val 50000"/>
              </a:avLst>
            </a:prstGeom>
            <a:solidFill>
              <a:srgbClr val="F4AD3E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 eaLnBrk="0" hangingPunct="0">
                <a:spcBef>
                  <a:spcPct val="20000"/>
                </a:spcBef>
              </a:pPr>
              <a:endParaRPr lang="en-US" sz="2200" i="1" dirty="0" smtClean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426969" y="4493278"/>
              <a:ext cx="2534987" cy="29735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solidFill>
                    <a:srgbClr val="565656"/>
                  </a:solidFill>
                </a:rPr>
                <a:t>Iteration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547224" y="1932866"/>
              <a:ext cx="290320" cy="3243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dirty="0" smtClean="0">
                  <a:solidFill>
                    <a:srgbClr val="DD594B"/>
                  </a:solidFill>
                  <a:sym typeface="Wingdings" panose="05000000000000000000" pitchFamily="2" charset="2"/>
                </a:rPr>
                <a:t></a:t>
              </a:r>
              <a:endParaRPr lang="en-US" dirty="0" smtClean="0">
                <a:solidFill>
                  <a:srgbClr val="DD594B"/>
                </a:solidFill>
              </a:endParaRPr>
            </a:p>
          </p:txBody>
        </p:sp>
        <p:pic>
          <p:nvPicPr>
            <p:cNvPr id="21" name="Picture 73" descr="Agile-Team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17328" y="2942419"/>
              <a:ext cx="894765" cy="526333"/>
            </a:xfrm>
            <a:prstGeom prst="rect">
              <a:avLst/>
            </a:prstGeom>
          </p:spPr>
        </p:pic>
      </p:grpSp>
      <p:sp>
        <p:nvSpPr>
          <p:cNvPr id="22" name="Прямоугольник 21"/>
          <p:cNvSpPr/>
          <p:nvPr/>
        </p:nvSpPr>
        <p:spPr>
          <a:xfrm>
            <a:off x="611560" y="1721415"/>
            <a:ext cx="457200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200" dirty="0" smtClean="0"/>
              <a:t>Test automation supports rapid regression testing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24644640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57175" indent="-257175">
              <a:spcBef>
                <a:spcPts val="900"/>
              </a:spcBef>
              <a:spcAft>
                <a:spcPts val="900"/>
              </a:spcAft>
            </a:pPr>
            <a:r>
              <a:rPr lang="en-US" dirty="0"/>
              <a:t>Cross-functional, self-organizing entities that can </a:t>
            </a:r>
            <a:r>
              <a:rPr lang="en-US" dirty="0">
                <a:solidFill>
                  <a:schemeClr val="accent2"/>
                </a:solidFill>
              </a:rPr>
              <a:t>define, build</a:t>
            </a:r>
            <a:r>
              <a:rPr lang="en-US" b="1" dirty="0"/>
              <a:t> </a:t>
            </a:r>
            <a:r>
              <a:rPr lang="en-US" dirty="0"/>
              <a:t>and </a:t>
            </a:r>
            <a:r>
              <a:rPr lang="en-US" dirty="0">
                <a:solidFill>
                  <a:schemeClr val="accent2"/>
                </a:solidFill>
              </a:rPr>
              <a:t>test</a:t>
            </a:r>
            <a:r>
              <a:rPr lang="en-US" dirty="0"/>
              <a:t> a thing of value</a:t>
            </a:r>
          </a:p>
          <a:p>
            <a:pPr marL="257175" indent="-257175">
              <a:spcBef>
                <a:spcPts val="900"/>
              </a:spcBef>
              <a:spcAft>
                <a:spcPts val="900"/>
              </a:spcAft>
            </a:pPr>
            <a:r>
              <a:rPr lang="en-US" dirty="0"/>
              <a:t>Applies basic scientific practice: Plan—Do—Check—Adjust</a:t>
            </a:r>
          </a:p>
          <a:p>
            <a:pPr marL="257175" indent="-257175">
              <a:spcBef>
                <a:spcPts val="900"/>
              </a:spcBef>
              <a:spcAft>
                <a:spcPts val="900"/>
              </a:spcAft>
            </a:pPr>
            <a:r>
              <a:rPr lang="en-US" dirty="0"/>
              <a:t>Delivers value every two weeks</a:t>
            </a:r>
          </a:p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 </a:t>
            </a:r>
            <a:endParaRPr lang="ru-RU" dirty="0"/>
          </a:p>
        </p:txBody>
      </p:sp>
      <p:graphicFrame>
        <p:nvGraphicFramePr>
          <p:cNvPr id="5" name="Diagram 42"/>
          <p:cNvGraphicFramePr/>
          <p:nvPr>
            <p:extLst>
              <p:ext uri="{D42A27DB-BD31-4B8C-83A1-F6EECF244321}">
                <p14:modId xmlns:p14="http://schemas.microsoft.com/office/powerpoint/2010/main" val="2760975705"/>
              </p:ext>
            </p:extLst>
          </p:nvPr>
        </p:nvGraphicFramePr>
        <p:xfrm>
          <a:off x="6516216" y="4077072"/>
          <a:ext cx="2095486" cy="16232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7164288" y="4725144"/>
            <a:ext cx="8050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ln w="31550" cmpd="sng">
                  <a:noFill/>
                  <a:prstDash val="solid"/>
                </a:ln>
              </a:rPr>
              <a:t>PDCA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80589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ile </a:t>
            </a:r>
            <a:r>
              <a:rPr lang="en-US" dirty="0" smtClean="0"/>
              <a:t>Tea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481" y="1128329"/>
            <a:ext cx="8658279" cy="1755787"/>
          </a:xfrm>
        </p:spPr>
        <p:txBody>
          <a:bodyPr/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900" dirty="0" smtClean="0"/>
              <a:t>Align 50-125 practitioners to a common mission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900" dirty="0" smtClean="0"/>
              <a:t>Apply cadence and synchronization, Program Increments every 6-12 weeks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900" dirty="0" smtClean="0"/>
              <a:t>Provide Vision, Roadmap, architectural guidance</a:t>
            </a:r>
          </a:p>
        </p:txBody>
      </p:sp>
      <p:pic>
        <p:nvPicPr>
          <p:cNvPr id="5" name="Picture 4" descr="05 Combined program-and-team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2617092"/>
            <a:ext cx="6264696" cy="3812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74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rhYHBuiEajA2rg4_Y0S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JYfIseP0KO9zSWyQ76N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sIy9hIeUq0OPmmUgwA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xieQJvE0m_1R2w4oVZ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bouhnDJ0exid6.lG2j0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ia1EsXpEOHqQ9nNceWU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L4HSifCkSN6QbhfcJh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yFwXT0BUunsn0eZSCG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LNjwMd1kW4S20MLtnX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nNPcBv6064JRt2AKNl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wN9Tf9HEGWcglcIv_N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MP1U4Rr0iJAD1grkB.T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pcbzPDUka6x35SfaD5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X4uBe6Y0yxWqwOgWof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AUwLSuWkGJ1NHF8liO4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6zTPnMoE2FCrJ_fGj67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foAIL3.0O6whQo0P3f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D338byrUy.x6GH0kLv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yt4vWzKEq0W4TOUfZ1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c.GUrCqkC0ju.jnE8d8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dCEWDR80GDPbC1xPCI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M9dKiQ.kWv03yrzcTv0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17BakSUky_ISYnPhT6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r3.eJX3EeVNO8QXA7NZ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Открытая">
  <a:themeElements>
    <a:clrScheme name="Открытая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Открытая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inorFont>
    </a:fontScheme>
    <a:fmtScheme name="Открытая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59</TotalTime>
  <Words>472</Words>
  <Application>Microsoft Office PowerPoint</Application>
  <PresentationFormat>Экран (4:3)</PresentationFormat>
  <Paragraphs>91</Paragraphs>
  <Slides>11</Slides>
  <Notes>7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2" baseType="lpstr">
      <vt:lpstr>Открытая</vt:lpstr>
      <vt:lpstr>Scaled Agile Framework (or SAFe)</vt:lpstr>
      <vt:lpstr>SAFe</vt:lpstr>
      <vt:lpstr>SAFe Lean-Agile principles</vt:lpstr>
      <vt:lpstr>SAFe</vt:lpstr>
      <vt:lpstr>Levels</vt:lpstr>
      <vt:lpstr>Three-level SAFe 4.0</vt:lpstr>
      <vt:lpstr>Applies test automation</vt:lpstr>
      <vt:lpstr>Team </vt:lpstr>
      <vt:lpstr>Agile Teams</vt:lpstr>
      <vt:lpstr>New 4.0 Value Stream level</vt:lpstr>
      <vt:lpstr>Results</vt:lpstr>
    </vt:vector>
  </TitlesOfParts>
  <Company>UGB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равчук Олексій Геннадійович</dc:creator>
  <cp:lastModifiedBy>Кравчук Олексій Геннадійович</cp:lastModifiedBy>
  <cp:revision>5</cp:revision>
  <dcterms:created xsi:type="dcterms:W3CDTF">2017-03-03T06:59:40Z</dcterms:created>
  <dcterms:modified xsi:type="dcterms:W3CDTF">2017-03-03T07:59:07Z</dcterms:modified>
</cp:coreProperties>
</file>